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4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5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6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7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8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9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10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11.xml" ContentType="application/vnd.openxmlformats-officedocument.theme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12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13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14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15.xml" ContentType="application/vnd.openxmlformats-officedocument.theme+xml"/>
  <Override PartName="/ppt/theme/theme16.xml" ContentType="application/vnd.openxmlformats-officedocument.theme+xml"/>
  <Override PartName="/ppt/theme/theme17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1" r:id="rId1"/>
    <p:sldMasterId id="2147483766" r:id="rId2"/>
    <p:sldMasterId id="2147483862" r:id="rId3"/>
    <p:sldMasterId id="2147483777" r:id="rId4"/>
    <p:sldMasterId id="2147483705" r:id="rId5"/>
    <p:sldMasterId id="2147483853" r:id="rId6"/>
    <p:sldMasterId id="2147483865" r:id="rId7"/>
    <p:sldMasterId id="2147483689" r:id="rId8"/>
    <p:sldMasterId id="2147483850" r:id="rId9"/>
    <p:sldMasterId id="2147483851" r:id="rId10"/>
    <p:sldMasterId id="2147483848" r:id="rId11"/>
    <p:sldMasterId id="2147483852" r:id="rId12"/>
    <p:sldMasterId id="2147483855" r:id="rId13"/>
    <p:sldMasterId id="2147483856" r:id="rId14"/>
    <p:sldMasterId id="2147483703" r:id="rId15"/>
  </p:sldMasterIdLst>
  <p:notesMasterIdLst>
    <p:notesMasterId r:id="rId24"/>
  </p:notesMasterIdLst>
  <p:handoutMasterIdLst>
    <p:handoutMasterId r:id="rId25"/>
  </p:handoutMasterIdLst>
  <p:sldIdLst>
    <p:sldId id="2442" r:id="rId16"/>
    <p:sldId id="2464" r:id="rId17"/>
    <p:sldId id="2465" r:id="rId18"/>
    <p:sldId id="2471" r:id="rId19"/>
    <p:sldId id="2472" r:id="rId20"/>
    <p:sldId id="2468" r:id="rId21"/>
    <p:sldId id="2469" r:id="rId22"/>
    <p:sldId id="2440" r:id="rId23"/>
  </p:sldIdLst>
  <p:sldSz cx="12192000" cy="6858000"/>
  <p:notesSz cx="6797675" cy="992505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Шаблон 16х9" id="{2DEBFDE6-A1AD-BA4D-90BF-1D391A2B5EFF}">
          <p14:sldIdLst>
            <p14:sldId id="2442"/>
            <p14:sldId id="2464"/>
            <p14:sldId id="2465"/>
            <p14:sldId id="2471"/>
            <p14:sldId id="2472"/>
            <p14:sldId id="2468"/>
            <p14:sldId id="2469"/>
            <p14:sldId id="244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Евгения Плотникова" initials="ЕП" lastIdx="148" clrIdx="0">
    <p:extLst>
      <p:ext uri="{19B8F6BF-5375-455C-9EA6-DF929625EA0E}">
        <p15:presenceInfo xmlns:p15="http://schemas.microsoft.com/office/powerpoint/2012/main" userId="Евгения Плотникова" providerId="None"/>
      </p:ext>
    </p:extLst>
  </p:cmAuthor>
  <p:cmAuthor id="2" name="Светлана Поспелова" initials="СП" lastIdx="25" clrIdx="1">
    <p:extLst>
      <p:ext uri="{19B8F6BF-5375-455C-9EA6-DF929625EA0E}">
        <p15:presenceInfo xmlns:p15="http://schemas.microsoft.com/office/powerpoint/2012/main" userId="20bcb18c332627f0" providerId="Windows Live"/>
      </p:ext>
    </p:extLst>
  </p:cmAuthor>
  <p:cmAuthor id="3" name="Admin" initials="A" lastIdx="110" clrIdx="2">
    <p:extLst>
      <p:ext uri="{19B8F6BF-5375-455C-9EA6-DF929625EA0E}">
        <p15:presenceInfo xmlns:p15="http://schemas.microsoft.com/office/powerpoint/2012/main" userId="Admin" providerId="None"/>
      </p:ext>
    </p:extLst>
  </p:cmAuthor>
  <p:cmAuthor id="4" name="Пользователь" initials="П" lastIdx="7" clrIdx="3">
    <p:extLst>
      <p:ext uri="{19B8F6BF-5375-455C-9EA6-DF929625EA0E}">
        <p15:presenceInfo xmlns:p15="http://schemas.microsoft.com/office/powerpoint/2012/main" userId="Пользователь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DACE3"/>
    <a:srgbClr val="FBFBFB"/>
    <a:srgbClr val="259789"/>
    <a:srgbClr val="FD6924"/>
    <a:srgbClr val="FCC30B"/>
    <a:srgbClr val="025EA1"/>
    <a:srgbClr val="7F7F7F"/>
    <a:srgbClr val="E20079"/>
    <a:srgbClr val="249789"/>
    <a:srgbClr val="00327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195" autoAdjust="0"/>
    <p:restoredTop sz="95748" autoAdjust="0"/>
  </p:normalViewPr>
  <p:slideViewPr>
    <p:cSldViewPr snapToGrid="0" snapToObjects="1">
      <p:cViewPr varScale="1">
        <p:scale>
          <a:sx n="131" d="100"/>
          <a:sy n="131" d="100"/>
        </p:scale>
        <p:origin x="162" y="126"/>
      </p:cViewPr>
      <p:guideLst/>
    </p:cSldViewPr>
  </p:slideViewPr>
  <p:outlineViewPr>
    <p:cViewPr>
      <p:scale>
        <a:sx n="20" d="100"/>
        <a:sy n="20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80" d="100"/>
        <a:sy n="80" d="100"/>
      </p:scale>
      <p:origin x="0" y="-12547"/>
    </p:cViewPr>
  </p:sorterViewPr>
  <p:notesViewPr>
    <p:cSldViewPr snapToGrid="0" snapToObjects="1" showGuides="1">
      <p:cViewPr varScale="1">
        <p:scale>
          <a:sx n="76" d="100"/>
          <a:sy n="76" d="100"/>
        </p:scale>
        <p:origin x="4160" y="2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3.xml"/><Relationship Id="rId26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6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2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8.xml"/><Relationship Id="rId28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4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1"/>
            </a:solidFill>
          </c:spPr>
          <c:dPt>
            <c:idx val="0"/>
            <c:bubble3D val="0"/>
            <c:spPr>
              <a:solidFill>
                <a:srgbClr val="FD6924"/>
              </a:solidFill>
            </c:spPr>
            <c:extLst>
              <c:ext xmlns:c16="http://schemas.microsoft.com/office/drawing/2014/chart" uri="{C3380CC4-5D6E-409C-BE32-E72D297353CC}">
                <c16:uniqueId val="{00000001-4A23-43E8-87FF-1A5A0652F711}"/>
              </c:ext>
            </c:extLst>
          </c:dPt>
          <c:dPt>
            <c:idx val="1"/>
            <c:bubble3D val="0"/>
            <c:spPr>
              <a:solidFill>
                <a:srgbClr val="259789"/>
              </a:solidFill>
            </c:spPr>
            <c:extLst>
              <c:ext xmlns:c16="http://schemas.microsoft.com/office/drawing/2014/chart" uri="{C3380CC4-5D6E-409C-BE32-E72D297353CC}">
                <c16:uniqueId val="{00000003-4A23-43E8-87FF-1A5A0652F711}"/>
              </c:ext>
            </c:extLst>
          </c:dPt>
          <c:dPt>
            <c:idx val="2"/>
            <c:bubble3D val="0"/>
            <c:spPr>
              <a:solidFill>
                <a:srgbClr val="00B0F0"/>
              </a:solidFill>
            </c:spPr>
            <c:extLst>
              <c:ext xmlns:c16="http://schemas.microsoft.com/office/drawing/2014/chart" uri="{C3380CC4-5D6E-409C-BE32-E72D297353CC}">
                <c16:uniqueId val="{00000005-4A23-43E8-87FF-1A5A0652F711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6-4A23-43E8-87FF-1A5A0652F711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</c:v>
                </c:pt>
                <c:pt idx="1">
                  <c:v>5</c:v>
                </c:pt>
                <c:pt idx="2">
                  <c:v>15</c:v>
                </c:pt>
                <c:pt idx="3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4A23-43E8-87FF-1A5A0652F7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zero"/>
    <c:showDLblsOverMax val="0"/>
  </c:chart>
  <c:txPr>
    <a:bodyPr/>
    <a:lstStyle/>
    <a:p>
      <a:pPr>
        <a:defRPr lang="zh-CN"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FD6924"/>
              </a:solidFill>
            </c:spPr>
            <c:extLst>
              <c:ext xmlns:c16="http://schemas.microsoft.com/office/drawing/2014/chart" uri="{C3380CC4-5D6E-409C-BE32-E72D297353CC}">
                <c16:uniqueId val="{00000001-865A-4C17-B789-A0DB262C0FB0}"/>
              </c:ext>
            </c:extLst>
          </c:dPt>
          <c:dPt>
            <c:idx val="1"/>
            <c:bubble3D val="0"/>
            <c:spPr>
              <a:solidFill>
                <a:srgbClr val="259789"/>
              </a:solidFill>
            </c:spPr>
            <c:extLst>
              <c:ext xmlns:c16="http://schemas.microsoft.com/office/drawing/2014/chart" uri="{C3380CC4-5D6E-409C-BE32-E72D297353CC}">
                <c16:uniqueId val="{00000003-865A-4C17-B789-A0DB262C0FB0}"/>
              </c:ext>
            </c:extLst>
          </c:dPt>
          <c:dPt>
            <c:idx val="2"/>
            <c:bubble3D val="0"/>
            <c:spPr>
              <a:solidFill>
                <a:srgbClr val="00B0F0"/>
              </a:solidFill>
            </c:spPr>
            <c:extLst>
              <c:ext xmlns:c16="http://schemas.microsoft.com/office/drawing/2014/chart" uri="{C3380CC4-5D6E-409C-BE32-E72D297353CC}">
                <c16:uniqueId val="{00000005-865A-4C17-B789-A0DB262C0FB0}"/>
              </c:ext>
            </c:extLst>
          </c:dPt>
          <c:dPt>
            <c:idx val="3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7-865A-4C17-B789-A0DB262C0FB0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</c:v>
                </c:pt>
                <c:pt idx="1">
                  <c:v>5.5</c:v>
                </c:pt>
                <c:pt idx="2">
                  <c:v>7.5</c:v>
                </c:pt>
                <c:pt idx="3">
                  <c:v>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65A-4C17-B789-A0DB262C0F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zero"/>
    <c:showDLblsOverMax val="0"/>
  </c:chart>
  <c:txPr>
    <a:bodyPr/>
    <a:lstStyle/>
    <a:p>
      <a:pPr>
        <a:defRPr lang="zh-CN"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616870795513514E-2"/>
          <c:y val="6.8645974070130539E-2"/>
          <c:w val="0.95338312920448653"/>
          <c:h val="0.80989307731539062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грамма</c:v>
                </c:pt>
              </c:strCache>
            </c:strRef>
          </c:tx>
          <c:spPr>
            <a:ln w="22225" cap="rnd">
              <a:solidFill>
                <a:schemeClr val="accent2"/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2"/>
              </a:solidFill>
              <a:ln w="9525">
                <a:solidFill>
                  <a:schemeClr val="accent2"/>
                </a:solidFill>
                <a:round/>
              </a:ln>
              <a:effectLst/>
            </c:spPr>
          </c:marker>
          <c:dPt>
            <c:idx val="0"/>
            <c:marker>
              <c:symbol val="diamond"/>
              <c:size val="6"/>
              <c:spPr>
                <a:solidFill>
                  <a:schemeClr val="accent2"/>
                </a:solidFill>
                <a:ln w="9525">
                  <a:solidFill>
                    <a:schemeClr val="accent2"/>
                  </a:solidFill>
                  <a:round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46AB-474B-9A95-96473E6665AE}"/>
              </c:ext>
            </c:extLst>
          </c:dPt>
          <c:dPt>
            <c:idx val="1"/>
            <c:marker>
              <c:symbol val="diamond"/>
              <c:size val="6"/>
              <c:spPr>
                <a:solidFill>
                  <a:schemeClr val="accent2"/>
                </a:solidFill>
                <a:ln w="9525">
                  <a:solidFill>
                    <a:schemeClr val="accent2"/>
                  </a:solidFill>
                  <a:round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46AB-474B-9A95-96473E6665AE}"/>
              </c:ext>
            </c:extLst>
          </c:dPt>
          <c:dPt>
            <c:idx val="2"/>
            <c:marker>
              <c:symbol val="diamond"/>
              <c:size val="6"/>
              <c:spPr>
                <a:solidFill>
                  <a:schemeClr val="accent2"/>
                </a:solidFill>
                <a:ln w="9525">
                  <a:solidFill>
                    <a:schemeClr val="accent2"/>
                  </a:solidFill>
                  <a:round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46AB-474B-9A95-96473E6665AE}"/>
              </c:ext>
            </c:extLst>
          </c:dPt>
          <c:dPt>
            <c:idx val="3"/>
            <c:marker>
              <c:symbol val="diamond"/>
              <c:size val="6"/>
              <c:spPr>
                <a:solidFill>
                  <a:schemeClr val="accent2"/>
                </a:solidFill>
                <a:ln w="9525">
                  <a:solidFill>
                    <a:schemeClr val="accent2"/>
                  </a:solidFill>
                  <a:round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46AB-474B-9A95-96473E6665AE}"/>
              </c:ext>
            </c:extLst>
          </c:dPt>
          <c:dLbls>
            <c:dLbl>
              <c:idx val="0"/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400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200" dirty="0">
                        <a:solidFill>
                          <a:schemeClr val="bg1"/>
                        </a:solidFill>
                        <a:latin typeface="+mn-lt"/>
                      </a:rPr>
                      <a:t>291</a:t>
                    </a:r>
                  </a:p>
                </c:rich>
              </c:tx>
              <c:spPr>
                <a:solidFill>
                  <a:srgbClr val="FF0000"/>
                </a:solidFill>
                <a:ln>
                  <a:solidFill>
                    <a:schemeClr val="dk1">
                      <a:lumMod val="25000"/>
                      <a:lumOff val="75000"/>
                    </a:schemeClr>
                  </a:solidFill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4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ound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2-46AB-474B-9A95-96473E6665AE}"/>
                </c:ext>
              </c:extLst>
            </c:dLbl>
            <c:dLbl>
              <c:idx val="1"/>
              <c:spPr>
                <a:solidFill>
                  <a:srgbClr val="FF0000"/>
                </a:solidFill>
                <a:ln>
                  <a:solidFill>
                    <a:schemeClr val="dk1">
                      <a:lumMod val="25000"/>
                      <a:lumOff val="75000"/>
                    </a:schemeClr>
                  </a:solidFill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ound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3-46AB-474B-9A95-96473E6665AE}"/>
                </c:ext>
              </c:extLst>
            </c:dLbl>
            <c:dLbl>
              <c:idx val="2"/>
              <c:spPr>
                <a:solidFill>
                  <a:srgbClr val="FF0000"/>
                </a:solidFill>
                <a:ln>
                  <a:solidFill>
                    <a:schemeClr val="dk1">
                      <a:lumMod val="25000"/>
                      <a:lumOff val="75000"/>
                    </a:schemeClr>
                  </a:solidFill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ound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4-46AB-474B-9A95-96473E6665AE}"/>
                </c:ext>
              </c:extLst>
            </c:dLbl>
            <c:dLbl>
              <c:idx val="3"/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>
                        <a:solidFill>
                          <a:schemeClr val="bg1"/>
                        </a:solidFill>
                        <a:latin typeface="+mn-lt"/>
                      </a:rPr>
                      <a:t>233</a:t>
                    </a:r>
                  </a:p>
                </c:rich>
              </c:tx>
              <c:spPr>
                <a:solidFill>
                  <a:srgbClr val="00B050"/>
                </a:solidFill>
                <a:ln>
                  <a:solidFill>
                    <a:schemeClr val="dk1">
                      <a:lumMod val="25000"/>
                      <a:lumOff val="75000"/>
                    </a:schemeClr>
                  </a:solidFill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ound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1-46AB-474B-9A95-96473E6665AE}"/>
                </c:ext>
              </c:extLst>
            </c:dLbl>
            <c:dLbl>
              <c:idx val="4"/>
              <c:layout>
                <c:manualLayout>
                  <c:x val="-2.5050768241701049E-2"/>
                  <c:y val="-1.3635818651968898E-2"/>
                </c:manualLayout>
              </c:layout>
              <c:spPr>
                <a:solidFill>
                  <a:srgbClr val="00B050"/>
                </a:solidFill>
                <a:ln>
                  <a:solidFill>
                    <a:schemeClr val="dk1">
                      <a:lumMod val="25000"/>
                      <a:lumOff val="75000"/>
                    </a:schemeClr>
                  </a:solidFill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oundRec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122456060384444"/>
                      <c:h val="8.228197167219918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8-90A5-44FF-955E-105D7DCDED03}"/>
                </c:ext>
              </c:extLst>
            </c:dLbl>
            <c:spPr>
              <a:solidFill>
                <a:schemeClr val="lt1"/>
              </a:solidFill>
              <a:ln>
                <a:solidFill>
                  <a:schemeClr val="dk1">
                    <a:lumMod val="25000"/>
                    <a:lumOff val="75000"/>
                  </a:schemeClr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ound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numCache>
            </c:numRef>
          </c:cat>
          <c:val>
            <c:numRef>
              <c:f>Лист1!$B$2:$B$6</c:f>
              <c:numCache>
                <c:formatCode>0</c:formatCode>
                <c:ptCount val="5"/>
                <c:pt idx="0">
                  <c:v>291</c:v>
                </c:pt>
                <c:pt idx="1">
                  <c:v>377</c:v>
                </c:pt>
                <c:pt idx="2">
                  <c:v>448</c:v>
                </c:pt>
                <c:pt idx="3">
                  <c:v>233</c:v>
                </c:pt>
                <c:pt idx="4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715-46C8-B8AF-50D43568EFB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245327936"/>
        <c:axId val="1570021920"/>
      </c:lineChart>
      <c:catAx>
        <c:axId val="124532793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70021920"/>
        <c:crosses val="autoZero"/>
        <c:auto val="1"/>
        <c:lblAlgn val="ctr"/>
        <c:lblOffset val="100"/>
        <c:noMultiLvlLbl val="0"/>
      </c:catAx>
      <c:valAx>
        <c:axId val="1570021920"/>
        <c:scaling>
          <c:orientation val="minMax"/>
        </c:scaling>
        <c:delete val="0"/>
        <c:axPos val="l"/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453279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bg1">
          <a:lumMod val="75000"/>
        </a:schemeClr>
      </a:solidFill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616870795513514E-2"/>
          <c:y val="6.8645974070130539E-2"/>
          <c:w val="0.61564336913917306"/>
          <c:h val="0.46280507379033309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грамма</c:v>
                </c:pt>
              </c:strCache>
            </c:strRef>
          </c:tx>
          <c:spPr>
            <a:ln w="317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17"/>
            <c:spPr>
              <a:solidFill>
                <a:srgbClr val="FF0000"/>
              </a:solidFill>
              <a:ln>
                <a:noFill/>
              </a:ln>
              <a:effectLst/>
            </c:spPr>
          </c:marker>
          <c:dPt>
            <c:idx val="0"/>
            <c:marker>
              <c:symbol val="circle"/>
              <c:size val="17"/>
              <c:spPr>
                <a:solidFill>
                  <a:srgbClr val="FF0000"/>
                </a:solidFill>
                <a:ln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205F-42FE-81AC-FC79D63C7782}"/>
              </c:ext>
            </c:extLst>
          </c:dPt>
          <c:dPt>
            <c:idx val="1"/>
            <c:marker>
              <c:symbol val="circle"/>
              <c:size val="17"/>
              <c:spPr>
                <a:solidFill>
                  <a:srgbClr val="FF0000"/>
                </a:solidFill>
                <a:ln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205F-42FE-81AC-FC79D63C7782}"/>
              </c:ext>
            </c:extLst>
          </c:dPt>
          <c:dPt>
            <c:idx val="2"/>
            <c:marker>
              <c:symbol val="circle"/>
              <c:size val="17"/>
              <c:spPr>
                <a:solidFill>
                  <a:srgbClr val="00B050"/>
                </a:solidFill>
                <a:ln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205F-42FE-81AC-FC79D63C7782}"/>
              </c:ext>
            </c:extLst>
          </c:dPt>
          <c:dPt>
            <c:idx val="3"/>
            <c:marker>
              <c:symbol val="circle"/>
              <c:size val="17"/>
              <c:spPr>
                <a:solidFill>
                  <a:srgbClr val="FF0000"/>
                </a:solidFill>
                <a:ln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205F-42FE-81AC-FC79D63C7782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7437A110-BB9C-4E9F-9A95-B502573DAC7C}" type="VALUE">
                      <a:rPr lang="en-US" b="0">
                        <a:solidFill>
                          <a:schemeClr val="bg1"/>
                        </a:solidFill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205F-42FE-81AC-FC79D63C778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1!$B$2:$B$4</c:f>
              <c:numCache>
                <c:formatCode>0</c:formatCode>
                <c:ptCount val="3"/>
                <c:pt idx="0">
                  <c:v>40</c:v>
                </c:pt>
                <c:pt idx="1">
                  <c:v>44</c:v>
                </c:pt>
                <c:pt idx="2">
                  <c:v>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05F-42FE-81AC-FC79D63C778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245327936"/>
        <c:axId val="1570021920"/>
      </c:lineChart>
      <c:catAx>
        <c:axId val="12453279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70021920"/>
        <c:crosses val="autoZero"/>
        <c:auto val="1"/>
        <c:lblAlgn val="ctr"/>
        <c:lblOffset val="100"/>
        <c:noMultiLvlLbl val="0"/>
      </c:catAx>
      <c:valAx>
        <c:axId val="1570021920"/>
        <c:scaling>
          <c:orientation val="minMax"/>
        </c:scaling>
        <c:delete val="1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crossAx val="12453279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616870795513514E-2"/>
          <c:y val="6.8645974070130539E-2"/>
          <c:w val="0.61564336913917306"/>
          <c:h val="0.46280507379033309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грамма</c:v>
                </c:pt>
              </c:strCache>
            </c:strRef>
          </c:tx>
          <c:spPr>
            <a:ln w="317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17"/>
            <c:spPr>
              <a:solidFill>
                <a:srgbClr val="FF0000"/>
              </a:solidFill>
              <a:ln>
                <a:noFill/>
              </a:ln>
              <a:effectLst/>
            </c:spPr>
          </c:marker>
          <c:dPt>
            <c:idx val="0"/>
            <c:marker>
              <c:symbol val="circle"/>
              <c:size val="17"/>
              <c:spPr>
                <a:solidFill>
                  <a:srgbClr val="FF0000"/>
                </a:solidFill>
                <a:ln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B496-48DE-A440-DCE8277EDECA}"/>
              </c:ext>
            </c:extLst>
          </c:dPt>
          <c:dPt>
            <c:idx val="1"/>
            <c:marker>
              <c:symbol val="circle"/>
              <c:size val="17"/>
              <c:spPr>
                <a:solidFill>
                  <a:srgbClr val="FF0000"/>
                </a:solidFill>
                <a:ln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B496-48DE-A440-DCE8277EDECA}"/>
              </c:ext>
            </c:extLst>
          </c:dPt>
          <c:dPt>
            <c:idx val="2"/>
            <c:marker>
              <c:symbol val="circle"/>
              <c:size val="17"/>
              <c:spPr>
                <a:solidFill>
                  <a:srgbClr val="00B050"/>
                </a:solidFill>
                <a:ln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B496-48DE-A440-DCE8277EDECA}"/>
              </c:ext>
            </c:extLst>
          </c:dPt>
          <c:dPt>
            <c:idx val="3"/>
            <c:marker>
              <c:symbol val="circle"/>
              <c:size val="17"/>
              <c:spPr>
                <a:solidFill>
                  <a:srgbClr val="FF0000"/>
                </a:solidFill>
                <a:ln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B496-48DE-A440-DCE8277EDECA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7437A110-BB9C-4E9F-9A95-B502573DAC7C}" type="VALUE">
                      <a:rPr lang="en-US"/>
                      <a:pPr/>
                      <a:t>[ЗНАЧЕНИЕ]</a:t>
                    </a:fld>
                    <a:endParaRPr lang="ru-RU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B496-48DE-A440-DCE8277EDEC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1!$B$2:$B$4</c:f>
              <c:numCache>
                <c:formatCode>0</c:formatCode>
                <c:ptCount val="3"/>
                <c:pt idx="0">
                  <c:v>52</c:v>
                </c:pt>
                <c:pt idx="1">
                  <c:v>58</c:v>
                </c:pt>
                <c:pt idx="2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496-48DE-A440-DCE8277EDECA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245327936"/>
        <c:axId val="1570021920"/>
      </c:lineChart>
      <c:catAx>
        <c:axId val="12453279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70021920"/>
        <c:crosses val="autoZero"/>
        <c:auto val="1"/>
        <c:lblAlgn val="ctr"/>
        <c:lblOffset val="100"/>
        <c:noMultiLvlLbl val="0"/>
      </c:catAx>
      <c:valAx>
        <c:axId val="1570021920"/>
        <c:scaling>
          <c:orientation val="minMax"/>
        </c:scaling>
        <c:delete val="1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crossAx val="12453279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2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3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3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2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>
      <cs:styleClr val="auto"/>
    </cs:fillRef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197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17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2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>
      <cs:styleClr val="auto"/>
    </cs:fillRef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197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17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A3930B6F-3C75-2242-867F-5DD950FB03D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797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34DF4D7D-90BE-5C43-B5B2-E3FB9978A80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797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3F5ADB-B468-6A40-A023-099BFBE67612}" type="datetimeFigureOut">
              <a:rPr lang="ru-RU" smtClean="0"/>
              <a:t>24.11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4F62B96B-D7C6-C34C-B493-765BFDFC6BB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7076"/>
            <a:ext cx="2945659" cy="4979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7C81364B-7036-2B41-9B98-6B79E8F2004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7076"/>
            <a:ext cx="2945659" cy="4979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F4C765-F04B-5541-A7E4-EE73ADD82F5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729564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797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797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E7CED9-DEBC-1940-9AEE-DF18EEB42B69}" type="datetimeFigureOut">
              <a:rPr lang="ru-RU" smtClean="0"/>
              <a:t>24.11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39838"/>
            <a:ext cx="5956300" cy="335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6431"/>
            <a:ext cx="5438140" cy="39079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7076"/>
            <a:ext cx="2945659" cy="4979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7076"/>
            <a:ext cx="2945659" cy="4979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A8B18B-E07D-BE4E-ADB7-B15E98E6117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95859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7" algn="l" defTabSz="9143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3" algn="l" defTabSz="9143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1" algn="l" defTabSz="9143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47" algn="l" defTabSz="9143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34" algn="l" defTabSz="9143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20" algn="l" defTabSz="9143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07" algn="l" defTabSz="9143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494" algn="l" defTabSz="9143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173CE2-FAB5-4301-87B4-3C99F17B1C4B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822914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9.svg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12.svg"/><Relationship Id="rId4" Type="http://schemas.openxmlformats.org/officeDocument/2006/relationships/image" Target="../media/image9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14.svg"/><Relationship Id="rId4" Type="http://schemas.openxmlformats.org/officeDocument/2006/relationships/image" Target="../media/image10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16.svg"/><Relationship Id="rId4" Type="http://schemas.openxmlformats.org/officeDocument/2006/relationships/image" Target="../media/image11.png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_белая те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6">
            <a:extLst>
              <a:ext uri="{FF2B5EF4-FFF2-40B4-BE49-F238E27FC236}">
                <a16:creationId xmlns:a16="http://schemas.microsoft.com/office/drawing/2014/main" id="{922F8A83-E842-0475-E790-8B032B4818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70452"/>
          </a:xfrm>
          <a:prstGeom prst="rect">
            <a:avLst/>
          </a:prstGeom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FAD7B56-1E8C-2F4A-AC24-2312CDD0CE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0563" y="5070502"/>
            <a:ext cx="8205775" cy="2734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kern="1200" dirty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r>
              <a:rPr lang="ru-RU" dirty="0"/>
              <a:t>Наименование мероприятия / название площадки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800344EA-ACBC-124C-B7D8-043D41CC07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4" y="1376363"/>
            <a:ext cx="8216901" cy="3673475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100000"/>
              </a:lnSpc>
              <a:defRPr lang="en-US" sz="4200" b="1" kern="1200" baseline="0" dirty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r>
              <a:rPr lang="ru-RU" dirty="0"/>
              <a:t>Тема презентации</a:t>
            </a:r>
            <a:endParaRPr lang="en-US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108935E-A05C-3046-BAAC-1964DF45BE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526907"/>
            <a:ext cx="6337300" cy="2734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600" b="1" kern="1200" dirty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r>
              <a:rPr lang="ru-RU" dirty="0"/>
              <a:t>ФИО</a:t>
            </a:r>
            <a:endParaRPr lang="en-US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DE7B18D4-10AD-F940-8700-BB4E6513FE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6" y="5693589"/>
            <a:ext cx="6337300" cy="27349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kern="1200" dirty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r>
              <a:rPr lang="ru-RU" dirty="0"/>
              <a:t>Должность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F57290F6-68D5-894F-B7B1-FBD98FC637F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6" y="6149263"/>
            <a:ext cx="5400674" cy="2516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1" kern="1200" dirty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r>
              <a:rPr lang="ru-RU" dirty="0"/>
              <a:t>00.00.2023</a:t>
            </a:r>
            <a:endParaRPr lang="en-US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6270321-C8BC-EF7D-BE04-45A38266751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 bwMode="auto">
          <a:xfrm>
            <a:off x="592043" y="513483"/>
            <a:ext cx="2875931" cy="8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8995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_1 коло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C127E805-F4DE-2DE2-697B-55D081B9098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12276" y="2473082"/>
            <a:ext cx="7356925" cy="3750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Подраздел</a:t>
            </a:r>
            <a:endParaRPr lang="en-US" dirty="0"/>
          </a:p>
        </p:txBody>
      </p:sp>
      <p:sp>
        <p:nvSpPr>
          <p:cNvPr id="29" name="Текст 13">
            <a:extLst>
              <a:ext uri="{FF2B5EF4-FFF2-40B4-BE49-F238E27FC236}">
                <a16:creationId xmlns:a16="http://schemas.microsoft.com/office/drawing/2014/main" id="{06671D5A-7459-6C62-C5E9-4EF8DB7E436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06871" y="1782414"/>
            <a:ext cx="7346950" cy="3270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Раздел 1</a:t>
            </a:r>
          </a:p>
        </p:txBody>
      </p:sp>
      <p:sp>
        <p:nvSpPr>
          <p:cNvPr id="30" name="Текст 13">
            <a:extLst>
              <a:ext uri="{FF2B5EF4-FFF2-40B4-BE49-F238E27FC236}">
                <a16:creationId xmlns:a16="http://schemas.microsoft.com/office/drawing/2014/main" id="{4715C112-5EF5-7D26-8F13-4CEC717C73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019480" y="1782414"/>
            <a:ext cx="651563" cy="400110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7B21E2E3-C9C3-4907-7CF7-FE57D66BBE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023387" y="2474999"/>
            <a:ext cx="648385" cy="375064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2</a:t>
            </a:r>
            <a:endParaRPr lang="en-US" dirty="0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3B87E8AB-1B99-9D81-1EB0-D2C0D30431A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508619" y="3774098"/>
            <a:ext cx="7356925" cy="3750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Подраздел</a:t>
            </a:r>
            <a:endParaRPr lang="en-US" dirty="0"/>
          </a:p>
        </p:txBody>
      </p:sp>
      <p:sp>
        <p:nvSpPr>
          <p:cNvPr id="45" name="Текст 13">
            <a:extLst>
              <a:ext uri="{FF2B5EF4-FFF2-40B4-BE49-F238E27FC236}">
                <a16:creationId xmlns:a16="http://schemas.microsoft.com/office/drawing/2014/main" id="{A4E64355-CF03-8CC2-E311-46D38993718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506871" y="3077032"/>
            <a:ext cx="7346950" cy="3270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Раздел 2</a:t>
            </a:r>
          </a:p>
        </p:txBody>
      </p:sp>
      <p:sp>
        <p:nvSpPr>
          <p:cNvPr id="46" name="Текст 13">
            <a:extLst>
              <a:ext uri="{FF2B5EF4-FFF2-40B4-BE49-F238E27FC236}">
                <a16:creationId xmlns:a16="http://schemas.microsoft.com/office/drawing/2014/main" id="{E3A72F70-5F79-D42B-4A44-33D2661EFEF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019480" y="3073124"/>
            <a:ext cx="651563" cy="400110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7B45AA84-2D84-AC99-4DEA-4FAFF60FD16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017528" y="3772390"/>
            <a:ext cx="651562" cy="375064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4</a:t>
            </a:r>
            <a:endParaRPr lang="en-US" dirty="0"/>
          </a:p>
        </p:txBody>
      </p:sp>
      <p:sp>
        <p:nvSpPr>
          <p:cNvPr id="48" name="Text Placeholder 7">
            <a:extLst>
              <a:ext uri="{FF2B5EF4-FFF2-40B4-BE49-F238E27FC236}">
                <a16:creationId xmlns:a16="http://schemas.microsoft.com/office/drawing/2014/main" id="{9BD24823-1B47-A140-D282-AD6612746A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508619" y="5067543"/>
            <a:ext cx="7356925" cy="3750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Подраздел</a:t>
            </a:r>
            <a:endParaRPr lang="en-US" dirty="0"/>
          </a:p>
        </p:txBody>
      </p:sp>
      <p:sp>
        <p:nvSpPr>
          <p:cNvPr id="49" name="Текст 13">
            <a:extLst>
              <a:ext uri="{FF2B5EF4-FFF2-40B4-BE49-F238E27FC236}">
                <a16:creationId xmlns:a16="http://schemas.microsoft.com/office/drawing/2014/main" id="{085BB00C-2CC6-1908-607C-7298AC960FE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06871" y="4370477"/>
            <a:ext cx="7346950" cy="3270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Раздел 3</a:t>
            </a:r>
          </a:p>
        </p:txBody>
      </p:sp>
      <p:sp>
        <p:nvSpPr>
          <p:cNvPr id="50" name="Текст 13">
            <a:extLst>
              <a:ext uri="{FF2B5EF4-FFF2-40B4-BE49-F238E27FC236}">
                <a16:creationId xmlns:a16="http://schemas.microsoft.com/office/drawing/2014/main" id="{B22D2A73-C8A8-5E0C-EFEA-40DC6828FA9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017528" y="4368167"/>
            <a:ext cx="655469" cy="375064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51" name="Text Placeholder 7">
            <a:extLst>
              <a:ext uri="{FF2B5EF4-FFF2-40B4-BE49-F238E27FC236}">
                <a16:creationId xmlns:a16="http://schemas.microsoft.com/office/drawing/2014/main" id="{92376322-2E6C-FC66-9485-77B5566879A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019480" y="5067543"/>
            <a:ext cx="648385" cy="375064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6</a:t>
            </a:r>
            <a:endParaRPr lang="en-US" dirty="0"/>
          </a:p>
        </p:txBody>
      </p:sp>
      <p:sp>
        <p:nvSpPr>
          <p:cNvPr id="5" name="Текст 1">
            <a:extLst>
              <a:ext uri="{FF2B5EF4-FFF2-40B4-BE49-F238E27FC236}">
                <a16:creationId xmlns:a16="http://schemas.microsoft.com/office/drawing/2014/main" id="{98A48CAB-F74B-A9CE-80F5-791CA161831D}"/>
              </a:ext>
            </a:extLst>
          </p:cNvPr>
          <p:cNvSpPr txBox="1">
            <a:spLocks/>
          </p:cNvSpPr>
          <p:nvPr userDrawn="1"/>
        </p:nvSpPr>
        <p:spPr>
          <a:xfrm>
            <a:off x="11158634" y="6382413"/>
            <a:ext cx="460059" cy="21495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D9737D-88D3-4F40-A281-A12720D62BD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cs typeface="Arial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910E143-F90B-7795-5E37-57F3CFBD40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3661118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_2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3BB9D711-F588-58FA-3338-78BE22D8C36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7375" y="2260000"/>
            <a:ext cx="3537722" cy="420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Подраздел</a:t>
            </a:r>
            <a:endParaRPr lang="en-US" dirty="0"/>
          </a:p>
        </p:txBody>
      </p:sp>
      <p:sp>
        <p:nvSpPr>
          <p:cNvPr id="43" name="Текст 13">
            <a:extLst>
              <a:ext uri="{FF2B5EF4-FFF2-40B4-BE49-F238E27FC236}">
                <a16:creationId xmlns:a16="http://schemas.microsoft.com/office/drawing/2014/main" id="{87DB9A1F-32F6-5942-136B-999E9FB96D2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7375" y="1616991"/>
            <a:ext cx="3537723" cy="4032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Раздел 1</a:t>
            </a:r>
          </a:p>
        </p:txBody>
      </p:sp>
      <p:sp>
        <p:nvSpPr>
          <p:cNvPr id="44" name="Текст 13">
            <a:extLst>
              <a:ext uri="{FF2B5EF4-FFF2-40B4-BE49-F238E27FC236}">
                <a16:creationId xmlns:a16="http://schemas.microsoft.com/office/drawing/2014/main" id="{027F65FD-C97D-90C5-7F1D-FF7B52A8362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32287" y="1615620"/>
            <a:ext cx="719137" cy="408444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A9DEE83A-6AB5-1C91-2C31-932DEA05037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32288" y="2259999"/>
            <a:ext cx="719138" cy="41652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2</a:t>
            </a:r>
            <a:endParaRPr lang="en-US" dirty="0"/>
          </a:p>
        </p:txBody>
      </p:sp>
      <p:sp>
        <p:nvSpPr>
          <p:cNvPr id="66" name="Text Placeholder 7">
            <a:extLst>
              <a:ext uri="{FF2B5EF4-FFF2-40B4-BE49-F238E27FC236}">
                <a16:creationId xmlns:a16="http://schemas.microsoft.com/office/drawing/2014/main" id="{9DA6498F-40D9-AF14-DEF4-0D0E5498E47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92659" y="3776695"/>
            <a:ext cx="3523729" cy="4079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Подраздел</a:t>
            </a:r>
            <a:endParaRPr lang="en-US" dirty="0"/>
          </a:p>
        </p:txBody>
      </p:sp>
      <p:sp>
        <p:nvSpPr>
          <p:cNvPr id="67" name="Текст 13">
            <a:extLst>
              <a:ext uri="{FF2B5EF4-FFF2-40B4-BE49-F238E27FC236}">
                <a16:creationId xmlns:a16="http://schemas.microsoft.com/office/drawing/2014/main" id="{42E60FEC-1E8A-3410-5D7A-684DC3A7593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87375" y="3126131"/>
            <a:ext cx="3537723" cy="4108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Раздел 2</a:t>
            </a:r>
          </a:p>
        </p:txBody>
      </p:sp>
      <p:sp>
        <p:nvSpPr>
          <p:cNvPr id="68" name="Текст 13">
            <a:extLst>
              <a:ext uri="{FF2B5EF4-FFF2-40B4-BE49-F238E27FC236}">
                <a16:creationId xmlns:a16="http://schemas.microsoft.com/office/drawing/2014/main" id="{394A0C9A-E982-3AE4-F727-523F24D92FD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32287" y="3125978"/>
            <a:ext cx="721004" cy="415341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69" name="Text Placeholder 7">
            <a:extLst>
              <a:ext uri="{FF2B5EF4-FFF2-40B4-BE49-F238E27FC236}">
                <a16:creationId xmlns:a16="http://schemas.microsoft.com/office/drawing/2014/main" id="{E94569B4-E751-2546-57E9-17FAF8ED7DE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32288" y="3771923"/>
            <a:ext cx="722098" cy="415341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4</a:t>
            </a:r>
            <a:endParaRPr lang="en-US" dirty="0"/>
          </a:p>
        </p:txBody>
      </p:sp>
      <p:sp>
        <p:nvSpPr>
          <p:cNvPr id="70" name="Text Placeholder 7">
            <a:extLst>
              <a:ext uri="{FF2B5EF4-FFF2-40B4-BE49-F238E27FC236}">
                <a16:creationId xmlns:a16="http://schemas.microsoft.com/office/drawing/2014/main" id="{5413D839-27CC-77C9-DDB9-12FE47FEDB1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4825" y="5288349"/>
            <a:ext cx="3531564" cy="4079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Подраздел</a:t>
            </a:r>
            <a:endParaRPr lang="en-US" dirty="0"/>
          </a:p>
        </p:txBody>
      </p:sp>
      <p:sp>
        <p:nvSpPr>
          <p:cNvPr id="71" name="Текст 13">
            <a:extLst>
              <a:ext uri="{FF2B5EF4-FFF2-40B4-BE49-F238E27FC236}">
                <a16:creationId xmlns:a16="http://schemas.microsoft.com/office/drawing/2014/main" id="{4A0497FB-AD0A-85F2-6CA7-A8F3359419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7375" y="4639003"/>
            <a:ext cx="3526135" cy="4108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Раздел 3</a:t>
            </a:r>
          </a:p>
        </p:txBody>
      </p:sp>
      <p:sp>
        <p:nvSpPr>
          <p:cNvPr id="72" name="Текст 13">
            <a:extLst>
              <a:ext uri="{FF2B5EF4-FFF2-40B4-BE49-F238E27FC236}">
                <a16:creationId xmlns:a16="http://schemas.microsoft.com/office/drawing/2014/main" id="{1F9F461D-902D-A004-E6D4-CF8AB5A95D9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32288" y="4634497"/>
            <a:ext cx="720090" cy="415341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73" name="Text Placeholder 7">
            <a:extLst>
              <a:ext uri="{FF2B5EF4-FFF2-40B4-BE49-F238E27FC236}">
                <a16:creationId xmlns:a16="http://schemas.microsoft.com/office/drawing/2014/main" id="{DD4418CF-D9FE-DEA8-4B09-3300528CEDF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32288" y="5290037"/>
            <a:ext cx="719136" cy="407501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6</a:t>
            </a:r>
            <a:endParaRPr lang="en-US" dirty="0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93A02201-29DE-E3F4-B357-ABAC7BBF08C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13475" y="2260000"/>
            <a:ext cx="3537722" cy="420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Подраздел</a:t>
            </a:r>
            <a:endParaRPr lang="en-US" dirty="0"/>
          </a:p>
        </p:txBody>
      </p:sp>
      <p:sp>
        <p:nvSpPr>
          <p:cNvPr id="4" name="Текст 13">
            <a:extLst>
              <a:ext uri="{FF2B5EF4-FFF2-40B4-BE49-F238E27FC236}">
                <a16:creationId xmlns:a16="http://schemas.microsoft.com/office/drawing/2014/main" id="{05F813D8-3940-4F5E-E17F-372FEE5693B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13475" y="1616991"/>
            <a:ext cx="3537723" cy="4032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Раздел 1</a:t>
            </a:r>
          </a:p>
        </p:txBody>
      </p:sp>
      <p:sp>
        <p:nvSpPr>
          <p:cNvPr id="5" name="Текст 13">
            <a:extLst>
              <a:ext uri="{FF2B5EF4-FFF2-40B4-BE49-F238E27FC236}">
                <a16:creationId xmlns:a16="http://schemas.microsoft.com/office/drawing/2014/main" id="{728E5462-1012-E1A7-6927-C8F0D732AD7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958387" y="1615620"/>
            <a:ext cx="719137" cy="408444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07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9F4A71EF-7014-074E-3C8C-23AA818C6C3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958388" y="2259999"/>
            <a:ext cx="719138" cy="41652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8</a:t>
            </a:r>
            <a:endParaRPr lang="en-US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18FACC30-4B4C-A57D-30FD-BA7534DDF26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18759" y="3776695"/>
            <a:ext cx="3523729" cy="4079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Подраздел</a:t>
            </a:r>
            <a:endParaRPr lang="en-US" dirty="0"/>
          </a:p>
        </p:txBody>
      </p:sp>
      <p:sp>
        <p:nvSpPr>
          <p:cNvPr id="8" name="Текст 13">
            <a:extLst>
              <a:ext uri="{FF2B5EF4-FFF2-40B4-BE49-F238E27FC236}">
                <a16:creationId xmlns:a16="http://schemas.microsoft.com/office/drawing/2014/main" id="{5D673D69-3A6C-C8CF-0EC5-A06A5A14071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13475" y="3126131"/>
            <a:ext cx="3537723" cy="4108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Раздел 2</a:t>
            </a:r>
          </a:p>
        </p:txBody>
      </p:sp>
      <p:sp>
        <p:nvSpPr>
          <p:cNvPr id="9" name="Текст 13">
            <a:extLst>
              <a:ext uri="{FF2B5EF4-FFF2-40B4-BE49-F238E27FC236}">
                <a16:creationId xmlns:a16="http://schemas.microsoft.com/office/drawing/2014/main" id="{40ADA1B7-220B-E1B2-0ADB-FD45287F788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958387" y="3125978"/>
            <a:ext cx="721004" cy="415341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09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6A880BB2-C7C7-2FD0-3F13-7EDBA351356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958388" y="3771923"/>
            <a:ext cx="722098" cy="415341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10</a:t>
            </a:r>
            <a:endParaRPr lang="en-US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526F7835-EA61-5D79-3805-5583CE14D75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10925" y="5288349"/>
            <a:ext cx="3531564" cy="4079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Подраздел</a:t>
            </a:r>
            <a:endParaRPr lang="en-US" dirty="0"/>
          </a:p>
        </p:txBody>
      </p:sp>
      <p:sp>
        <p:nvSpPr>
          <p:cNvPr id="12" name="Текст 13">
            <a:extLst>
              <a:ext uri="{FF2B5EF4-FFF2-40B4-BE49-F238E27FC236}">
                <a16:creationId xmlns:a16="http://schemas.microsoft.com/office/drawing/2014/main" id="{F6A7E967-BDC6-973F-C78C-B7FA0A3AE98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213475" y="4639003"/>
            <a:ext cx="3526135" cy="4108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Раздел 3</a:t>
            </a:r>
          </a:p>
        </p:txBody>
      </p:sp>
      <p:sp>
        <p:nvSpPr>
          <p:cNvPr id="13" name="Текст 13">
            <a:extLst>
              <a:ext uri="{FF2B5EF4-FFF2-40B4-BE49-F238E27FC236}">
                <a16:creationId xmlns:a16="http://schemas.microsoft.com/office/drawing/2014/main" id="{CF32651E-92C8-A3D6-D509-561C1BC3411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958388" y="4634497"/>
            <a:ext cx="720090" cy="415341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11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68FE08D7-314E-DD88-386F-48A39C2EFD1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958388" y="5290037"/>
            <a:ext cx="719136" cy="407501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12</a:t>
            </a:r>
            <a:endParaRPr lang="en-US" dirty="0"/>
          </a:p>
        </p:txBody>
      </p:sp>
      <p:sp>
        <p:nvSpPr>
          <p:cNvPr id="17" name="Текст 1">
            <a:extLst>
              <a:ext uri="{FF2B5EF4-FFF2-40B4-BE49-F238E27FC236}">
                <a16:creationId xmlns:a16="http://schemas.microsoft.com/office/drawing/2014/main" id="{17F75990-D3D0-8029-613D-CA295218A3B1}"/>
              </a:ext>
            </a:extLst>
          </p:cNvPr>
          <p:cNvSpPr txBox="1">
            <a:spLocks/>
          </p:cNvSpPr>
          <p:nvPr userDrawn="1"/>
        </p:nvSpPr>
        <p:spPr>
          <a:xfrm>
            <a:off x="11158634" y="6382413"/>
            <a:ext cx="460059" cy="21495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D9737D-88D3-4F40-A281-A12720D62BD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cs typeface="Arial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F6EA602B-814E-4CB0-DB7D-D78B35943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33944174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еребивочный_белая те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>
            <a:extLst>
              <a:ext uri="{FF2B5EF4-FFF2-40B4-BE49-F238E27FC236}">
                <a16:creationId xmlns:a16="http://schemas.microsoft.com/office/drawing/2014/main" id="{BE5860A3-DB6A-AAFA-0AD6-F2AF4C2A8F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70452"/>
          </a:xfrm>
          <a:prstGeom prst="rect">
            <a:avLst/>
          </a:prstGeom>
        </p:spPr>
      </p:pic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84658A2D-411B-0244-886A-6A6D4AD9DD0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4" y="296863"/>
            <a:ext cx="8208964" cy="62642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lang="en-US" sz="4600" b="1" kern="1200" dirty="0">
                <a:solidFill>
                  <a:schemeClr val="tx1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pPr lvl="0"/>
            <a:r>
              <a:rPr lang="ru-RU" dirty="0"/>
              <a:t>Перебивочные</a:t>
            </a:r>
            <a:br>
              <a:rPr lang="ru-RU" dirty="0"/>
            </a:br>
            <a:r>
              <a:rPr lang="ru-RU" dirty="0"/>
              <a:t>слайд</a:t>
            </a:r>
          </a:p>
        </p:txBody>
      </p:sp>
    </p:spTree>
    <p:extLst>
      <p:ext uri="{BB962C8B-B14F-4D97-AF65-F5344CB8AC3E}">
        <p14:creationId xmlns:p14="http://schemas.microsoft.com/office/powerpoint/2010/main" val="22720675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" userDrawn="1">
          <p15:clr>
            <a:srgbClr val="FBAE40"/>
          </p15:clr>
        </p15:guide>
        <p15:guide id="2" orient="horz" pos="187" userDrawn="1">
          <p15:clr>
            <a:srgbClr val="FBAE40"/>
          </p15:clr>
        </p15:guide>
        <p15:guide id="3" orient="horz" pos="4133" userDrawn="1">
          <p15:clr>
            <a:srgbClr val="FBAE40"/>
          </p15:clr>
        </p15:guide>
        <p15:guide id="4" pos="5541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еребивочный_синяя те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:a16="http://schemas.microsoft.com/office/drawing/2014/main" id="{7DEAB78E-F3B4-9790-4D7F-69E73355E5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0719" cy="6858000"/>
          </a:xfrm>
          <a:prstGeom prst="rect">
            <a:avLst/>
          </a:prstGeom>
        </p:spPr>
      </p:pic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84658A2D-411B-0244-886A-6A6D4AD9DD0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4" y="296862"/>
            <a:ext cx="8208963" cy="62642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lang="en-US" sz="4600" b="1" kern="1200" dirty="0">
                <a:solidFill>
                  <a:schemeClr val="bg1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pPr lvl="0"/>
            <a:r>
              <a:rPr lang="ru-RU" dirty="0"/>
              <a:t>Перебивочные</a:t>
            </a:r>
            <a:br>
              <a:rPr lang="ru-RU" dirty="0"/>
            </a:br>
            <a:r>
              <a:rPr lang="ru-RU" dirty="0"/>
              <a:t>слайд</a:t>
            </a:r>
          </a:p>
        </p:txBody>
      </p:sp>
    </p:spTree>
    <p:extLst>
      <p:ext uri="{BB962C8B-B14F-4D97-AF65-F5344CB8AC3E}">
        <p14:creationId xmlns:p14="http://schemas.microsoft.com/office/powerpoint/2010/main" val="559964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" userDrawn="1">
          <p15:clr>
            <a:srgbClr val="FBAE40"/>
          </p15:clr>
        </p15:guide>
        <p15:guide id="2" orient="horz" pos="187" userDrawn="1">
          <p15:clr>
            <a:srgbClr val="FBAE40"/>
          </p15:clr>
        </p15:guide>
        <p15:guide id="3" orient="horz" pos="4133" userDrawn="1">
          <p15:clr>
            <a:srgbClr val="FBAE40"/>
          </p15:clr>
        </p15:guide>
        <p15:guide id="4" pos="5541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еребивочный_с фотографи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Рисунок 2">
            <a:extLst>
              <a:ext uri="{FF2B5EF4-FFF2-40B4-BE49-F238E27FC236}">
                <a16:creationId xmlns:a16="http://schemas.microsoft.com/office/drawing/2014/main" id="{EF65E7FF-AD9E-BD82-3F7D-532686291A4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 algn="ctr">
              <a:buNone/>
              <a:defRPr sz="1824"/>
            </a:lvl1pPr>
          </a:lstStyle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84658A2D-411B-0244-886A-6A6D4AD9DD0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4" y="296862"/>
            <a:ext cx="8208963" cy="62642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lang="en-US" sz="4600" b="1" kern="1200" dirty="0">
                <a:solidFill>
                  <a:schemeClr val="bg1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pPr lvl="0"/>
            <a:r>
              <a:rPr lang="ru-RU" dirty="0"/>
              <a:t>Перебивочные</a:t>
            </a:r>
            <a:br>
              <a:rPr lang="ru-RU" dirty="0"/>
            </a:br>
            <a:r>
              <a:rPr lang="ru-RU" dirty="0"/>
              <a:t>слайд</a:t>
            </a:r>
          </a:p>
        </p:txBody>
      </p:sp>
    </p:spTree>
    <p:extLst>
      <p:ext uri="{BB962C8B-B14F-4D97-AF65-F5344CB8AC3E}">
        <p14:creationId xmlns:p14="http://schemas.microsoft.com/office/powerpoint/2010/main" val="38958323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" userDrawn="1">
          <p15:clr>
            <a:srgbClr val="FBAE40"/>
          </p15:clr>
        </p15:guide>
        <p15:guide id="2" orient="horz" pos="187" userDrawn="1">
          <p15:clr>
            <a:srgbClr val="FBAE40"/>
          </p15:clr>
        </p15:guide>
        <p15:guide id="3" orient="horz" pos="4133" userDrawn="1">
          <p15:clr>
            <a:srgbClr val="FBAE40"/>
          </p15:clr>
        </p15:guide>
        <p15:guide id="4" pos="5541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Акцентный слайд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id="{95ED8356-B83E-6E48-AA70-42380F25059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 algn="ctr">
              <a:buNone/>
              <a:defRPr sz="1824"/>
            </a:lvl1pPr>
          </a:lstStyle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sp>
        <p:nvSpPr>
          <p:cNvPr id="12" name="Текст 8">
            <a:extLst>
              <a:ext uri="{FF2B5EF4-FFF2-40B4-BE49-F238E27FC236}">
                <a16:creationId xmlns:a16="http://schemas.microsoft.com/office/drawing/2014/main" id="{67D6967C-8165-A64C-8710-D36D9E5E8F9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93769" y="5231333"/>
            <a:ext cx="3522619" cy="9068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кст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13" name="Текст 8">
            <a:extLst>
              <a:ext uri="{FF2B5EF4-FFF2-40B4-BE49-F238E27FC236}">
                <a16:creationId xmlns:a16="http://schemas.microsoft.com/office/drawing/2014/main" id="{4F67DFEC-0AC9-7F46-8D70-21B032990B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65647" y="3871513"/>
            <a:ext cx="3563529" cy="129265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9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2022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DD4C74E-C014-80D1-4598-58B9768F55E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954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alpha val="7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 Место для указания источников, сносок и примечаний.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A340BB55-70A8-6BED-0E3B-5015D56C26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374137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Акцентный слайд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id="{95ED8356-B83E-6E48-AA70-42380F25059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 algn="ctr">
              <a:buNone/>
              <a:defRPr sz="1824"/>
            </a:lvl1pPr>
          </a:lstStyle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sp>
        <p:nvSpPr>
          <p:cNvPr id="15" name="Текст 8">
            <a:extLst>
              <a:ext uri="{FF2B5EF4-FFF2-40B4-BE49-F238E27FC236}">
                <a16:creationId xmlns:a16="http://schemas.microsoft.com/office/drawing/2014/main" id="{027D984E-2637-E441-AB77-7B30518FAE1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88963" y="1592263"/>
            <a:ext cx="5417643" cy="412174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5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  <a:p>
            <a:pPr lvl="0"/>
            <a:r>
              <a:rPr lang="ru-RU" dirty="0"/>
              <a:t>в две строки</a:t>
            </a:r>
          </a:p>
        </p:txBody>
      </p:sp>
      <p:sp>
        <p:nvSpPr>
          <p:cNvPr id="17" name="Текст 8">
            <a:extLst>
              <a:ext uri="{FF2B5EF4-FFF2-40B4-BE49-F238E27FC236}">
                <a16:creationId xmlns:a16="http://schemas.microsoft.com/office/drawing/2014/main" id="{C2B9C897-1A55-7943-AA2B-5D9A771730A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075612" y="1633408"/>
            <a:ext cx="3529013" cy="103646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5719CBF2-28D9-0D46-F1D8-29F187B7AC2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954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alpha val="7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 Место для указания источников, сносок и примечаний.</a:t>
            </a:r>
          </a:p>
        </p:txBody>
      </p:sp>
      <p:sp>
        <p:nvSpPr>
          <p:cNvPr id="119" name="Текст 8">
            <a:extLst>
              <a:ext uri="{FF2B5EF4-FFF2-40B4-BE49-F238E27FC236}">
                <a16:creationId xmlns:a16="http://schemas.microsoft.com/office/drawing/2014/main" id="{1CD5F6BC-A552-E98B-2815-3AB34D860FA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075612" y="3150411"/>
            <a:ext cx="3529013" cy="103646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20" name="Текст 8">
            <a:extLst>
              <a:ext uri="{FF2B5EF4-FFF2-40B4-BE49-F238E27FC236}">
                <a16:creationId xmlns:a16="http://schemas.microsoft.com/office/drawing/2014/main" id="{ED6A0D3D-01A9-BA1D-895E-DA965FE4DA2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75612" y="4661077"/>
            <a:ext cx="3529013" cy="103646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21" name="Рисунок 37">
            <a:extLst>
              <a:ext uri="{FF2B5EF4-FFF2-40B4-BE49-F238E27FC236}">
                <a16:creationId xmlns:a16="http://schemas.microsoft.com/office/drawing/2014/main" id="{0718E54B-A135-16ED-9D83-2A3C0DEB308E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7140575" y="1598257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ru-RU" dirty="0"/>
          </a:p>
        </p:txBody>
      </p:sp>
      <p:sp>
        <p:nvSpPr>
          <p:cNvPr id="122" name="Рисунок 37">
            <a:extLst>
              <a:ext uri="{FF2B5EF4-FFF2-40B4-BE49-F238E27FC236}">
                <a16:creationId xmlns:a16="http://schemas.microsoft.com/office/drawing/2014/main" id="{EAA53AFD-AD16-4E64-BE1E-9C09CF729140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7140575" y="3109707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ru-RU" dirty="0"/>
          </a:p>
        </p:txBody>
      </p:sp>
      <p:sp>
        <p:nvSpPr>
          <p:cNvPr id="123" name="Рисунок 37">
            <a:extLst>
              <a:ext uri="{FF2B5EF4-FFF2-40B4-BE49-F238E27FC236}">
                <a16:creationId xmlns:a16="http://schemas.microsoft.com/office/drawing/2014/main" id="{8E94AC38-AF79-A9F2-AD29-D5E49EF940CB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7140575" y="4621157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ru-RU" dirty="0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1052C15B-FAA2-DDB3-C191-8A452CE747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12869890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Акцентный слайд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id="{95ED8356-B83E-6E48-AA70-42380F25059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 algn="ctr">
              <a:buNone/>
              <a:defRPr sz="1824"/>
            </a:lvl1pPr>
          </a:lstStyle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sp>
        <p:nvSpPr>
          <p:cNvPr id="19" name="Текст 8">
            <a:extLst>
              <a:ext uri="{FF2B5EF4-FFF2-40B4-BE49-F238E27FC236}">
                <a16:creationId xmlns:a16="http://schemas.microsoft.com/office/drawing/2014/main" id="{29C243CA-BB88-5541-AE6B-E740B77FE9F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459039" y="2475380"/>
            <a:ext cx="8208962" cy="192517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20" name="Текст 8">
            <a:extLst>
              <a:ext uri="{FF2B5EF4-FFF2-40B4-BE49-F238E27FC236}">
                <a16:creationId xmlns:a16="http://schemas.microsoft.com/office/drawing/2014/main" id="{E0750EA5-C792-B04F-BD78-3A8C8CDF197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78622" y="4659852"/>
            <a:ext cx="8189379" cy="38998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Автор</a:t>
            </a:r>
          </a:p>
        </p:txBody>
      </p:sp>
      <p:sp>
        <p:nvSpPr>
          <p:cNvPr id="21" name="Текст 8">
            <a:extLst>
              <a:ext uri="{FF2B5EF4-FFF2-40B4-BE49-F238E27FC236}">
                <a16:creationId xmlns:a16="http://schemas.microsoft.com/office/drawing/2014/main" id="{DB814D78-312E-9A40-B2A1-6D8CBC4704B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32783" y="2124004"/>
            <a:ext cx="1251597" cy="17289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042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600" b="1" i="0">
                <a:solidFill>
                  <a:schemeClr val="bg1"/>
                </a:solidFill>
              </a:defRPr>
            </a:lvl1pPr>
          </a:lstStyle>
          <a:p>
            <a:pPr marL="0" marR="0" lvl="0" indent="0" algn="l" defTabSz="1042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0947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  <a:endParaRPr lang="ru-RU" sz="10947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E586EB3A-0F97-02AD-8EEE-8455088F07E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954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alpha val="7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 Место для указания источников, сносок и примечаний.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EFAFAE29-D73E-94C5-0566-2F68046C09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14362570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Акцентный слайд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id="{95ED8356-B83E-6E48-AA70-42380F25059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27484" y="2471"/>
            <a:ext cx="12192000" cy="4613979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 algn="ctr">
              <a:buNone/>
              <a:defRPr sz="1824"/>
            </a:lvl1pPr>
          </a:lstStyle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046EFA28-A4CA-68BC-7276-6507A177638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954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  <a:alpha val="7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17" name="Текст 8">
            <a:extLst>
              <a:ext uri="{FF2B5EF4-FFF2-40B4-BE49-F238E27FC236}">
                <a16:creationId xmlns:a16="http://schemas.microsoft.com/office/drawing/2014/main" id="{76082F43-7382-4D1E-E28C-9F4FA38A242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277266" y="1820382"/>
            <a:ext cx="5385654" cy="148542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8" name="Текст 8">
            <a:extLst>
              <a:ext uri="{FF2B5EF4-FFF2-40B4-BE49-F238E27FC236}">
                <a16:creationId xmlns:a16="http://schemas.microsoft.com/office/drawing/2014/main" id="{33A5217E-84E4-6F97-04EA-C3D7774D812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282346" y="3585020"/>
            <a:ext cx="5385654" cy="38373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Автор</a:t>
            </a:r>
          </a:p>
        </p:txBody>
      </p:sp>
      <p:sp>
        <p:nvSpPr>
          <p:cNvPr id="22" name="Текст 8">
            <a:extLst>
              <a:ext uri="{FF2B5EF4-FFF2-40B4-BE49-F238E27FC236}">
                <a16:creationId xmlns:a16="http://schemas.microsoft.com/office/drawing/2014/main" id="{F0A5F67E-2EAB-3D15-DB08-92D909CC3A4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61168" y="1503504"/>
            <a:ext cx="710362" cy="1392443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0" b="1" i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9600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  <a:endParaRPr lang="ru-RU" sz="9600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Рисунок 3">
            <a:extLst>
              <a:ext uri="{FF2B5EF4-FFF2-40B4-BE49-F238E27FC236}">
                <a16:creationId xmlns:a16="http://schemas.microsoft.com/office/drawing/2014/main" id="{D9FCAF65-26CC-6FA3-40A5-8180C35BA1A0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87375" y="1609458"/>
            <a:ext cx="2372712" cy="237271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Рисунок</a:t>
            </a:r>
          </a:p>
        </p:txBody>
      </p:sp>
      <p:sp>
        <p:nvSpPr>
          <p:cNvPr id="30" name="Текст 8">
            <a:extLst>
              <a:ext uri="{FF2B5EF4-FFF2-40B4-BE49-F238E27FC236}">
                <a16:creationId xmlns:a16="http://schemas.microsoft.com/office/drawing/2014/main" id="{08AA4DDF-F95D-BF3C-999C-F00CFE5B804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470959" y="5587945"/>
            <a:ext cx="2592388" cy="36036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31" name="Текст 8">
            <a:extLst>
              <a:ext uri="{FF2B5EF4-FFF2-40B4-BE49-F238E27FC236}">
                <a16:creationId xmlns:a16="http://schemas.microsoft.com/office/drawing/2014/main" id="{C1A01AB7-F1C6-8F0B-9E27-C4C0EA3DA29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60480" y="4968486"/>
            <a:ext cx="1392153" cy="1172705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lang="ru-RU" sz="8000" b="1" kern="1200" dirty="0">
                <a:gradFill flip="none" rotWithShape="1">
                  <a:gsLst>
                    <a:gs pos="0">
                      <a:schemeClr val="accent1"/>
                    </a:gs>
                    <a:gs pos="97000">
                      <a:schemeClr val="accent3"/>
                    </a:gs>
                  </a:gsLst>
                  <a:lin ang="16200000" scaled="1"/>
                  <a:tileRect/>
                </a:gra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01</a:t>
            </a:r>
            <a:endParaRPr lang="ru-RU" dirty="0"/>
          </a:p>
        </p:txBody>
      </p:sp>
      <p:sp>
        <p:nvSpPr>
          <p:cNvPr id="32" name="Текст 8">
            <a:extLst>
              <a:ext uri="{FF2B5EF4-FFF2-40B4-BE49-F238E27FC236}">
                <a16:creationId xmlns:a16="http://schemas.microsoft.com/office/drawing/2014/main" id="{E7B0A131-2B78-D9BB-7315-F9D73E4B7A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109909" y="5606954"/>
            <a:ext cx="3521611" cy="36036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33" name="Текст 8">
            <a:extLst>
              <a:ext uri="{FF2B5EF4-FFF2-40B4-BE49-F238E27FC236}">
                <a16:creationId xmlns:a16="http://schemas.microsoft.com/office/drawing/2014/main" id="{3EED5328-CA07-4939-D089-7B6DF918448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73974" y="4688473"/>
            <a:ext cx="1555190" cy="1472911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lang="ru-RU" sz="8000" b="1" kern="1200" dirty="0">
                <a:gradFill flip="none" rotWithShape="1">
                  <a:gsLst>
                    <a:gs pos="0">
                      <a:schemeClr val="accent1"/>
                    </a:gs>
                    <a:gs pos="97000">
                      <a:schemeClr val="accent3"/>
                    </a:gs>
                  </a:gsLst>
                  <a:lin ang="16200000" scaled="1"/>
                  <a:tileRect/>
                </a:gra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lvl="0" indent="0" algn="l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/>
              <a:t>02</a:t>
            </a:r>
            <a:endParaRPr lang="ru-RU" dirty="0"/>
          </a:p>
        </p:txBody>
      </p:sp>
      <p:sp>
        <p:nvSpPr>
          <p:cNvPr id="4" name="Текст 1">
            <a:extLst>
              <a:ext uri="{FF2B5EF4-FFF2-40B4-BE49-F238E27FC236}">
                <a16:creationId xmlns:a16="http://schemas.microsoft.com/office/drawing/2014/main" id="{290E2C77-687F-E859-8DFF-EB54A148FB86}"/>
              </a:ext>
            </a:extLst>
          </p:cNvPr>
          <p:cNvSpPr txBox="1">
            <a:spLocks/>
          </p:cNvSpPr>
          <p:nvPr userDrawn="1"/>
        </p:nvSpPr>
        <p:spPr>
          <a:xfrm>
            <a:off x="11158634" y="6382413"/>
            <a:ext cx="460059" cy="21495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D9737D-88D3-4F40-A281-A12720D62BD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cs typeface="Arial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18525501-3808-11DA-CE98-21DF4A14CF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34149228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Акцентный слайд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id="{95ED8356-B83E-6E48-AA70-42380F25059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267325" y="0"/>
            <a:ext cx="692377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1824"/>
            </a:lvl1pPr>
          </a:lstStyle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C43DAE7-EFB6-C158-BC01-4487DD1E03C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360379"/>
            <a:ext cx="4464051" cy="23562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13" name="Текст 8">
            <a:extLst>
              <a:ext uri="{FF2B5EF4-FFF2-40B4-BE49-F238E27FC236}">
                <a16:creationId xmlns:a16="http://schemas.microsoft.com/office/drawing/2014/main" id="{2D9A430C-6230-3BAB-40F4-5F32EF73458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30875" y="4462522"/>
            <a:ext cx="3520550" cy="403911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4" name="Текст 8">
            <a:extLst>
              <a:ext uri="{FF2B5EF4-FFF2-40B4-BE49-F238E27FC236}">
                <a16:creationId xmlns:a16="http://schemas.microsoft.com/office/drawing/2014/main" id="{10BFE06A-F5C7-DC54-BCC1-8D735678958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61879" y="4288234"/>
            <a:ext cx="932711" cy="709325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lang="ru-RU" sz="6000" b="1" kern="1200" dirty="0" smtClean="0">
                <a:gradFill flip="none" rotWithShape="1">
                  <a:gsLst>
                    <a:gs pos="0">
                      <a:schemeClr val="accent1"/>
                    </a:gs>
                    <a:gs pos="97000">
                      <a:schemeClr val="accent3"/>
                    </a:gs>
                  </a:gsLst>
                  <a:lin ang="16200000" scaled="1"/>
                  <a:tileRect/>
                </a:gra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01</a:t>
            </a:r>
            <a:endParaRPr lang="ru-RU" dirty="0"/>
          </a:p>
        </p:txBody>
      </p:sp>
      <p:sp>
        <p:nvSpPr>
          <p:cNvPr id="15" name="Текст 8">
            <a:extLst>
              <a:ext uri="{FF2B5EF4-FFF2-40B4-BE49-F238E27FC236}">
                <a16:creationId xmlns:a16="http://schemas.microsoft.com/office/drawing/2014/main" id="{4D607537-097A-FBF4-AF6C-4AFDAB7DDA7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30875" y="5553980"/>
            <a:ext cx="3520550" cy="403911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6" name="Текст 8">
            <a:extLst>
              <a:ext uri="{FF2B5EF4-FFF2-40B4-BE49-F238E27FC236}">
                <a16:creationId xmlns:a16="http://schemas.microsoft.com/office/drawing/2014/main" id="{D010F8C3-3A32-060B-FCC8-6364BDEF4D8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918" y="5383630"/>
            <a:ext cx="932711" cy="709325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lang="ru-RU" sz="6000" b="1" kern="1200" dirty="0">
                <a:gradFill flip="none" rotWithShape="1">
                  <a:gsLst>
                    <a:gs pos="0">
                      <a:schemeClr val="accent1"/>
                    </a:gs>
                    <a:gs pos="97000">
                      <a:schemeClr val="accent3"/>
                    </a:gs>
                  </a:gsLst>
                  <a:lin ang="16200000" scaled="1"/>
                  <a:tileRect/>
                </a:gra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/>
              <a:t>0</a:t>
            </a:r>
            <a:r>
              <a:rPr lang="ru-RU" dirty="0"/>
              <a:t>2</a:t>
            </a:r>
          </a:p>
        </p:txBody>
      </p:sp>
      <p:sp>
        <p:nvSpPr>
          <p:cNvPr id="17" name="Текст 8">
            <a:extLst>
              <a:ext uri="{FF2B5EF4-FFF2-40B4-BE49-F238E27FC236}">
                <a16:creationId xmlns:a16="http://schemas.microsoft.com/office/drawing/2014/main" id="{82A066A3-28F1-1A98-EE60-883FA91E20B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87375" y="3366983"/>
            <a:ext cx="4464050" cy="601768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42A6CDE6-32F8-0130-71BB-9DFE5B3CCB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6" y="296863"/>
            <a:ext cx="4464050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23229714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_синяя те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7">
            <a:extLst>
              <a:ext uri="{FF2B5EF4-FFF2-40B4-BE49-F238E27FC236}">
                <a16:creationId xmlns:a16="http://schemas.microsoft.com/office/drawing/2014/main" id="{01B5B7FA-12C3-5D08-D3B6-CC20368AB27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pic>
        <p:nvPicPr>
          <p:cNvPr id="9" name="Рисунок 8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C2206B78-4806-1605-95F4-4B92EF638BD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90550" y="514762"/>
            <a:ext cx="2872877" cy="864000"/>
          </a:xfrm>
          <a:prstGeom prst="rect">
            <a:avLst/>
          </a:prstGeom>
        </p:spPr>
      </p:pic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F1895F75-3B6A-7994-0D20-2BA2EA7D51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0563" y="5070502"/>
            <a:ext cx="8205775" cy="2734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kern="1200" dirty="0">
                <a:solidFill>
                  <a:schemeClr val="bg1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r>
              <a:rPr lang="ru-RU" dirty="0"/>
              <a:t>Наименование мероприятия / название площадки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F82E2C2-4D0B-30D4-9FDA-83E3FDA899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4" y="1376363"/>
            <a:ext cx="8216901" cy="3673475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100000"/>
              </a:lnSpc>
              <a:defRPr lang="en-US" sz="4200" b="1" kern="1200" baseline="0" dirty="0">
                <a:solidFill>
                  <a:schemeClr val="bg1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r>
              <a:rPr lang="ru-RU" dirty="0"/>
              <a:t>Тема презентации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D6F736F-7A49-076B-2211-2D5C562A55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526907"/>
            <a:ext cx="6337300" cy="2734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600" b="1" kern="1200" dirty="0">
                <a:solidFill>
                  <a:schemeClr val="bg1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r>
              <a:rPr lang="ru-RU" dirty="0"/>
              <a:t>ФИО</a:t>
            </a:r>
            <a:endParaRPr lang="en-US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4A43B11A-F1D0-5552-3200-191C982CD31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6" y="5693589"/>
            <a:ext cx="6337300" cy="27349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kern="1200" dirty="0">
                <a:solidFill>
                  <a:schemeClr val="bg1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r>
              <a:rPr lang="ru-RU" dirty="0"/>
              <a:t>Должность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27BE751-C500-D2E3-AC58-A7A45598B8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6" y="6149263"/>
            <a:ext cx="5400674" cy="2516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1" kern="1200" dirty="0">
                <a:solidFill>
                  <a:schemeClr val="bg1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r>
              <a:rPr lang="ru-RU" dirty="0"/>
              <a:t>00.00.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65281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ветной фон_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C6728726-4BD0-7414-75D9-3104A1F778D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Текст 1">
            <a:extLst>
              <a:ext uri="{FF2B5EF4-FFF2-40B4-BE49-F238E27FC236}">
                <a16:creationId xmlns:a16="http://schemas.microsoft.com/office/drawing/2014/main" id="{91C5B08A-C30D-F84E-4976-A2ADD72235C2}"/>
              </a:ext>
            </a:extLst>
          </p:cNvPr>
          <p:cNvSpPr txBox="1">
            <a:spLocks/>
          </p:cNvSpPr>
          <p:nvPr userDrawn="1"/>
        </p:nvSpPr>
        <p:spPr>
          <a:xfrm>
            <a:off x="11158634" y="6382413"/>
            <a:ext cx="460059" cy="21495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D9737D-88D3-4F40-A281-A12720D62BD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cs typeface="Arial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DE25847F-7926-80A6-7450-4B6C1AA988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954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alpha val="7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 Место для указания источников, сносок и примечаний</a:t>
            </a:r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AFB5A9F3-1DF3-1F6F-3A2C-BD20C1F09B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7375" y="2679540"/>
            <a:ext cx="5400675" cy="323389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120000"/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4" name="Текст 13">
            <a:extLst>
              <a:ext uri="{FF2B5EF4-FFF2-40B4-BE49-F238E27FC236}">
                <a16:creationId xmlns:a16="http://schemas.microsoft.com/office/drawing/2014/main" id="{BAE492BF-5C8B-2B8B-EE80-94D0075435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5524" y="1770684"/>
            <a:ext cx="5419056" cy="6867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5" name="Текст 10">
            <a:extLst>
              <a:ext uri="{FF2B5EF4-FFF2-40B4-BE49-F238E27FC236}">
                <a16:creationId xmlns:a16="http://schemas.microsoft.com/office/drawing/2014/main" id="{CD6B644B-C430-A296-C017-FDDBBC9E4DD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5665" y="2679540"/>
            <a:ext cx="5400675" cy="323389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120000"/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B5D7C7B-BEF0-47B2-8621-51158DB4FC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  <p:pic>
        <p:nvPicPr>
          <p:cNvPr id="2" name="Picture 18">
            <a:extLst>
              <a:ext uri="{FF2B5EF4-FFF2-40B4-BE49-F238E27FC236}">
                <a16:creationId xmlns:a16="http://schemas.microsoft.com/office/drawing/2014/main" id="{8125F73A-551B-E9FD-97FA-9195E272703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500914" y="301221"/>
            <a:ext cx="2125936" cy="638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3973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ветной фон_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72F81515-570A-C721-38B4-01A84B086A9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Текст 1">
            <a:extLst>
              <a:ext uri="{FF2B5EF4-FFF2-40B4-BE49-F238E27FC236}">
                <a16:creationId xmlns:a16="http://schemas.microsoft.com/office/drawing/2014/main" id="{91C5B08A-C30D-F84E-4976-A2ADD72235C2}"/>
              </a:ext>
            </a:extLst>
          </p:cNvPr>
          <p:cNvSpPr txBox="1">
            <a:spLocks/>
          </p:cNvSpPr>
          <p:nvPr userDrawn="1"/>
        </p:nvSpPr>
        <p:spPr>
          <a:xfrm>
            <a:off x="11158634" y="6382413"/>
            <a:ext cx="460059" cy="21495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D9737D-88D3-4F40-A281-A12720D62BD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cs typeface="Arial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DE25847F-7926-80A6-7450-4B6C1AA988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954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alpha val="7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 Место для указания источников, сносок и примечаний</a:t>
            </a:r>
          </a:p>
        </p:txBody>
      </p:sp>
      <p:sp>
        <p:nvSpPr>
          <p:cNvPr id="3" name="Текст 10">
            <a:extLst>
              <a:ext uri="{FF2B5EF4-FFF2-40B4-BE49-F238E27FC236}">
                <a16:creationId xmlns:a16="http://schemas.microsoft.com/office/drawing/2014/main" id="{C3913102-90E1-EEA7-A4AE-4470E9F25B6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7375" y="2679540"/>
            <a:ext cx="5400675" cy="323389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120000"/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8" name="Текст 13">
            <a:extLst>
              <a:ext uri="{FF2B5EF4-FFF2-40B4-BE49-F238E27FC236}">
                <a16:creationId xmlns:a16="http://schemas.microsoft.com/office/drawing/2014/main" id="{C011F261-9269-8C05-BEC2-58CCB219E5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5524" y="1770684"/>
            <a:ext cx="5419056" cy="6867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9" name="Текст 10">
            <a:extLst>
              <a:ext uri="{FF2B5EF4-FFF2-40B4-BE49-F238E27FC236}">
                <a16:creationId xmlns:a16="http://schemas.microsoft.com/office/drawing/2014/main" id="{1E83B56E-4EB9-B672-CA65-24FE1576262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5665" y="2679540"/>
            <a:ext cx="5400675" cy="323389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120000"/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AA5D1075-A154-2B88-A357-019087F390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  <p:pic>
        <p:nvPicPr>
          <p:cNvPr id="2" name="Picture 18">
            <a:extLst>
              <a:ext uri="{FF2B5EF4-FFF2-40B4-BE49-F238E27FC236}">
                <a16:creationId xmlns:a16="http://schemas.microsoft.com/office/drawing/2014/main" id="{A7CB4651-4259-02B8-C925-FAABE0FEC8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500914" y="301221"/>
            <a:ext cx="2125936" cy="638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39578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ветной фон_3">
    <p:bg>
      <p:bgPr>
        <a:solidFill>
          <a:schemeClr val="bg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8AE30FFB-031F-3833-AEF2-B641ED56D64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Текст 1">
            <a:extLst>
              <a:ext uri="{FF2B5EF4-FFF2-40B4-BE49-F238E27FC236}">
                <a16:creationId xmlns:a16="http://schemas.microsoft.com/office/drawing/2014/main" id="{91C5B08A-C30D-F84E-4976-A2ADD72235C2}"/>
              </a:ext>
            </a:extLst>
          </p:cNvPr>
          <p:cNvSpPr txBox="1">
            <a:spLocks/>
          </p:cNvSpPr>
          <p:nvPr userDrawn="1"/>
        </p:nvSpPr>
        <p:spPr>
          <a:xfrm>
            <a:off x="11158634" y="6382413"/>
            <a:ext cx="460059" cy="21495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D9737D-88D3-4F40-A281-A12720D62BD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cs typeface="Arial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DE25847F-7926-80A6-7450-4B6C1AA988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954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alpha val="7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 Место для указания источников, сносок и примечаний</a:t>
            </a:r>
          </a:p>
        </p:txBody>
      </p:sp>
      <p:sp>
        <p:nvSpPr>
          <p:cNvPr id="3" name="Текст 10">
            <a:extLst>
              <a:ext uri="{FF2B5EF4-FFF2-40B4-BE49-F238E27FC236}">
                <a16:creationId xmlns:a16="http://schemas.microsoft.com/office/drawing/2014/main" id="{5D646791-049C-A1A9-2460-05E130DA15D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7375" y="2679540"/>
            <a:ext cx="5400675" cy="323389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120000"/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8" name="Текст 13">
            <a:extLst>
              <a:ext uri="{FF2B5EF4-FFF2-40B4-BE49-F238E27FC236}">
                <a16:creationId xmlns:a16="http://schemas.microsoft.com/office/drawing/2014/main" id="{BF51BEBB-6D76-8A18-91AE-66DA59B057D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5524" y="1770684"/>
            <a:ext cx="5419056" cy="6867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9" name="Текст 10">
            <a:extLst>
              <a:ext uri="{FF2B5EF4-FFF2-40B4-BE49-F238E27FC236}">
                <a16:creationId xmlns:a16="http://schemas.microsoft.com/office/drawing/2014/main" id="{F1B85D8B-9A26-915C-57D1-8A07BFB61F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5665" y="2679540"/>
            <a:ext cx="5400675" cy="323389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120000"/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D56AC4D6-5216-6FD7-B316-D6F0D16AB1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  <p:pic>
        <p:nvPicPr>
          <p:cNvPr id="2" name="Picture 18">
            <a:extLst>
              <a:ext uri="{FF2B5EF4-FFF2-40B4-BE49-F238E27FC236}">
                <a16:creationId xmlns:a16="http://schemas.microsoft.com/office/drawing/2014/main" id="{4D117F21-6E04-24C0-CDCC-5DB00D46484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500914" y="301221"/>
            <a:ext cx="2125936" cy="638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76632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ветной фон_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21EAC059-0016-091E-F881-0F43CC01B59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Текст 1">
            <a:extLst>
              <a:ext uri="{FF2B5EF4-FFF2-40B4-BE49-F238E27FC236}">
                <a16:creationId xmlns:a16="http://schemas.microsoft.com/office/drawing/2014/main" id="{91C5B08A-C30D-F84E-4976-A2ADD72235C2}"/>
              </a:ext>
            </a:extLst>
          </p:cNvPr>
          <p:cNvSpPr txBox="1">
            <a:spLocks/>
          </p:cNvSpPr>
          <p:nvPr userDrawn="1"/>
        </p:nvSpPr>
        <p:spPr>
          <a:xfrm>
            <a:off x="11158634" y="6382413"/>
            <a:ext cx="460059" cy="21495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D9737D-88D3-4F40-A281-A12720D62BD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cs typeface="Arial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DE25847F-7926-80A6-7450-4B6C1AA988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954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alpha val="7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 Место для указания источников, сносок и примечаний</a:t>
            </a:r>
          </a:p>
        </p:txBody>
      </p:sp>
      <p:sp>
        <p:nvSpPr>
          <p:cNvPr id="3" name="Текст 10">
            <a:extLst>
              <a:ext uri="{FF2B5EF4-FFF2-40B4-BE49-F238E27FC236}">
                <a16:creationId xmlns:a16="http://schemas.microsoft.com/office/drawing/2014/main" id="{08EDE3BC-2474-B460-7720-52AA614582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7375" y="2679540"/>
            <a:ext cx="5400675" cy="323389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120000"/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8" name="Текст 13">
            <a:extLst>
              <a:ext uri="{FF2B5EF4-FFF2-40B4-BE49-F238E27FC236}">
                <a16:creationId xmlns:a16="http://schemas.microsoft.com/office/drawing/2014/main" id="{56EDECB0-CE4B-BA0C-D3DE-BB8BDCBD874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5524" y="1770684"/>
            <a:ext cx="5419056" cy="6867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9" name="Текст 10">
            <a:extLst>
              <a:ext uri="{FF2B5EF4-FFF2-40B4-BE49-F238E27FC236}">
                <a16:creationId xmlns:a16="http://schemas.microsoft.com/office/drawing/2014/main" id="{ADB288C9-0BEC-E21B-ABF4-E5B3DEC9352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5665" y="2679540"/>
            <a:ext cx="5400675" cy="323389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120000"/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C7E8FFF1-4FB4-5CE9-F99E-1D95DC1175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  <p:pic>
        <p:nvPicPr>
          <p:cNvPr id="2" name="Picture 18">
            <a:extLst>
              <a:ext uri="{FF2B5EF4-FFF2-40B4-BE49-F238E27FC236}">
                <a16:creationId xmlns:a16="http://schemas.microsoft.com/office/drawing/2014/main" id="{3798466C-AF38-B410-6F00-B22433094FA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500914" y="301221"/>
            <a:ext cx="2125936" cy="638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5463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ветной фон_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7499E909-89FF-FD4D-8F16-63201361A05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Текст 1">
            <a:extLst>
              <a:ext uri="{FF2B5EF4-FFF2-40B4-BE49-F238E27FC236}">
                <a16:creationId xmlns:a16="http://schemas.microsoft.com/office/drawing/2014/main" id="{91C5B08A-C30D-F84E-4976-A2ADD72235C2}"/>
              </a:ext>
            </a:extLst>
          </p:cNvPr>
          <p:cNvSpPr txBox="1">
            <a:spLocks/>
          </p:cNvSpPr>
          <p:nvPr userDrawn="1"/>
        </p:nvSpPr>
        <p:spPr>
          <a:xfrm>
            <a:off x="11158634" y="6382413"/>
            <a:ext cx="460059" cy="21495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D9737D-88D3-4F40-A281-A12720D62BD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cs typeface="Arial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DE25847F-7926-80A6-7450-4B6C1AA988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954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alpha val="7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 Место для указания источников, сносок и примечаний</a:t>
            </a:r>
          </a:p>
        </p:txBody>
      </p:sp>
      <p:sp>
        <p:nvSpPr>
          <p:cNvPr id="3" name="Текст 10">
            <a:extLst>
              <a:ext uri="{FF2B5EF4-FFF2-40B4-BE49-F238E27FC236}">
                <a16:creationId xmlns:a16="http://schemas.microsoft.com/office/drawing/2014/main" id="{AA5BA454-F3AB-8254-158E-28736550D6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7375" y="2679540"/>
            <a:ext cx="5400675" cy="323389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120000"/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8" name="Текст 13">
            <a:extLst>
              <a:ext uri="{FF2B5EF4-FFF2-40B4-BE49-F238E27FC236}">
                <a16:creationId xmlns:a16="http://schemas.microsoft.com/office/drawing/2014/main" id="{22FEDC10-56E9-6823-B986-D8DDE4F9317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5524" y="1770684"/>
            <a:ext cx="5419056" cy="6867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9" name="Текст 10">
            <a:extLst>
              <a:ext uri="{FF2B5EF4-FFF2-40B4-BE49-F238E27FC236}">
                <a16:creationId xmlns:a16="http://schemas.microsoft.com/office/drawing/2014/main" id="{7BC28121-37FD-CA50-1C99-68F0FA3A69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5665" y="2679540"/>
            <a:ext cx="5400675" cy="323389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120000"/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pic>
        <p:nvPicPr>
          <p:cNvPr id="10" name="Picture 18">
            <a:extLst>
              <a:ext uri="{FF2B5EF4-FFF2-40B4-BE49-F238E27FC236}">
                <a16:creationId xmlns:a16="http://schemas.microsoft.com/office/drawing/2014/main" id="{019F8DF0-E133-D466-6B91-2A22C74DAD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500914" y="301221"/>
            <a:ext cx="2125936" cy="638683"/>
          </a:xfrm>
          <a:prstGeom prst="rect">
            <a:avLst/>
          </a:prstGeom>
        </p:spPr>
      </p:pic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120E9CDF-8044-7311-222D-A1C4E62430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18490196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ветной фон_6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7BC4D92F-B502-EA94-4A91-B2B1DF8504F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Текст 1">
            <a:extLst>
              <a:ext uri="{FF2B5EF4-FFF2-40B4-BE49-F238E27FC236}">
                <a16:creationId xmlns:a16="http://schemas.microsoft.com/office/drawing/2014/main" id="{91C5B08A-C30D-F84E-4976-A2ADD72235C2}"/>
              </a:ext>
            </a:extLst>
          </p:cNvPr>
          <p:cNvSpPr txBox="1">
            <a:spLocks/>
          </p:cNvSpPr>
          <p:nvPr userDrawn="1"/>
        </p:nvSpPr>
        <p:spPr>
          <a:xfrm>
            <a:off x="11158634" y="6382413"/>
            <a:ext cx="460059" cy="21495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D9737D-88D3-4F40-A281-A12720D62BD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cs typeface="Arial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DE25847F-7926-80A6-7450-4B6C1AA988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954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alpha val="7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 Место для указания источников, сносок и примечаний</a:t>
            </a:r>
          </a:p>
        </p:txBody>
      </p:sp>
      <p:sp>
        <p:nvSpPr>
          <p:cNvPr id="3" name="Текст 10">
            <a:extLst>
              <a:ext uri="{FF2B5EF4-FFF2-40B4-BE49-F238E27FC236}">
                <a16:creationId xmlns:a16="http://schemas.microsoft.com/office/drawing/2014/main" id="{FDA24960-98A9-8620-EEC9-D36B07A769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7375" y="2679540"/>
            <a:ext cx="5400675" cy="323389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120000"/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8" name="Текст 13">
            <a:extLst>
              <a:ext uri="{FF2B5EF4-FFF2-40B4-BE49-F238E27FC236}">
                <a16:creationId xmlns:a16="http://schemas.microsoft.com/office/drawing/2014/main" id="{3C5A3500-9AB7-F31F-DB59-A287F10D1ED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5524" y="1770684"/>
            <a:ext cx="5419056" cy="6867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9" name="Текст 10">
            <a:extLst>
              <a:ext uri="{FF2B5EF4-FFF2-40B4-BE49-F238E27FC236}">
                <a16:creationId xmlns:a16="http://schemas.microsoft.com/office/drawing/2014/main" id="{5951B5F8-C0DD-D262-3791-6E9CB931188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5665" y="2679540"/>
            <a:ext cx="5400675" cy="323389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120000"/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ACFE543-57BE-2C53-ABB0-E4274E195F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  <p:pic>
        <p:nvPicPr>
          <p:cNvPr id="2" name="Picture 18">
            <a:extLst>
              <a:ext uri="{FF2B5EF4-FFF2-40B4-BE49-F238E27FC236}">
                <a16:creationId xmlns:a16="http://schemas.microsoft.com/office/drawing/2014/main" id="{002903C9-B411-58D2-C771-CA8B1359651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500914" y="301221"/>
            <a:ext cx="2125936" cy="638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03272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ветной фон_7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42B47C10-D510-DFC4-F9F4-8485D305B7B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Текст 1">
            <a:extLst>
              <a:ext uri="{FF2B5EF4-FFF2-40B4-BE49-F238E27FC236}">
                <a16:creationId xmlns:a16="http://schemas.microsoft.com/office/drawing/2014/main" id="{91C5B08A-C30D-F84E-4976-A2ADD72235C2}"/>
              </a:ext>
            </a:extLst>
          </p:cNvPr>
          <p:cNvSpPr txBox="1">
            <a:spLocks/>
          </p:cNvSpPr>
          <p:nvPr userDrawn="1"/>
        </p:nvSpPr>
        <p:spPr>
          <a:xfrm>
            <a:off x="11158634" y="6382413"/>
            <a:ext cx="460059" cy="21495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D9737D-88D3-4F40-A281-A12720D62BD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cs typeface="Arial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DE25847F-7926-80A6-7450-4B6C1AA988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954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alpha val="7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 Место для указания источников, сносок и примечаний</a:t>
            </a:r>
          </a:p>
        </p:txBody>
      </p:sp>
      <p:sp>
        <p:nvSpPr>
          <p:cNvPr id="3" name="Текст 10">
            <a:extLst>
              <a:ext uri="{FF2B5EF4-FFF2-40B4-BE49-F238E27FC236}">
                <a16:creationId xmlns:a16="http://schemas.microsoft.com/office/drawing/2014/main" id="{190633DF-B565-1FD9-33AF-DCDA837C2F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7375" y="2679540"/>
            <a:ext cx="5400675" cy="323389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120000"/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8" name="Текст 13">
            <a:extLst>
              <a:ext uri="{FF2B5EF4-FFF2-40B4-BE49-F238E27FC236}">
                <a16:creationId xmlns:a16="http://schemas.microsoft.com/office/drawing/2014/main" id="{A25D6D9F-B1C3-1814-1BEA-2043B707240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5524" y="1770684"/>
            <a:ext cx="5419056" cy="6867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9" name="Текст 10">
            <a:extLst>
              <a:ext uri="{FF2B5EF4-FFF2-40B4-BE49-F238E27FC236}">
                <a16:creationId xmlns:a16="http://schemas.microsoft.com/office/drawing/2014/main" id="{930C256A-6E3F-2C1A-4A78-56A15378DB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5665" y="2679540"/>
            <a:ext cx="5400675" cy="323389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120000"/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F25E95BD-0B80-07D4-1C1D-1E2007B543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  <p:pic>
        <p:nvPicPr>
          <p:cNvPr id="2" name="Picture 18">
            <a:extLst>
              <a:ext uri="{FF2B5EF4-FFF2-40B4-BE49-F238E27FC236}">
                <a16:creationId xmlns:a16="http://schemas.microsoft.com/office/drawing/2014/main" id="{F3825675-9D53-1BEB-928C-95AF99752A8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500914" y="301221"/>
            <a:ext cx="2125936" cy="638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93605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 с логотип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26494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95828E19-F354-DF47-B066-E5BD574211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954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76C016B-785E-E702-99AB-804EE8364C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17117341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заголовком без логотип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95828E19-F354-DF47-B066-E5BD574211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954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E812838A-772D-28AE-DDDD-F460B8604E60}"/>
              </a:ext>
            </a:extLst>
          </p:cNvPr>
          <p:cNvSpPr/>
          <p:nvPr userDrawn="1"/>
        </p:nvSpPr>
        <p:spPr>
          <a:xfrm>
            <a:off x="9393382" y="169011"/>
            <a:ext cx="2353859" cy="9914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C70A51D4-5369-235E-52D2-11B8DF3A45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744369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719667" y="1981202"/>
            <a:ext cx="5204884" cy="23764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ru-RU" sz="1200" kern="120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1" name="Рисунок 2"/>
          <p:cNvSpPr>
            <a:spLocks noGrp="1"/>
          </p:cNvSpPr>
          <p:nvPr>
            <p:ph type="pic" idx="10"/>
          </p:nvPr>
        </p:nvSpPr>
        <p:spPr>
          <a:xfrm>
            <a:off x="6263220" y="1981202"/>
            <a:ext cx="5211233" cy="23764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19667" y="6170207"/>
            <a:ext cx="6311900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7" name="Номер слайда 3"/>
          <p:cNvSpPr txBox="1">
            <a:spLocks/>
          </p:cNvSpPr>
          <p:nvPr userDrawn="1"/>
        </p:nvSpPr>
        <p:spPr>
          <a:xfrm>
            <a:off x="10701867" y="6170207"/>
            <a:ext cx="772584" cy="14645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D7563AF-3E27-4699-B4F1-10C22348B958}" type="slidenum">
              <a:rPr lang="ru-RU" sz="70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719669" y="541338"/>
            <a:ext cx="7423151" cy="459206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3200" b="1" kern="120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30811416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екоративная нумерац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EB76A479-9EB9-9149-A87E-B656862594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43138" y="1828676"/>
            <a:ext cx="2808287" cy="17082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23E21428-F1A9-1C47-B189-1F00230510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7315" y="1683042"/>
            <a:ext cx="956685" cy="731367"/>
          </a:xfrm>
          <a:prstGeom prst="rect">
            <a:avLst/>
          </a:prstGeom>
        </p:spPr>
        <p:txBody>
          <a:bodyPr wrap="none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6000" b="1" kern="1200" dirty="0">
                <a:gradFill flip="none" rotWithShape="1">
                  <a:gsLst>
                    <a:gs pos="0">
                      <a:schemeClr val="accent1"/>
                    </a:gs>
                    <a:gs pos="97000">
                      <a:schemeClr val="accent3"/>
                    </a:gs>
                  </a:gsLst>
                  <a:lin ang="16200000" scaled="1"/>
                  <a:tileRect/>
                </a:gra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CF731511-FB7E-7045-BEF7-6ACE24889B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50478" y="3960306"/>
            <a:ext cx="2808287" cy="17372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E7336803-30F9-AA4B-BD57-607EB2BB91D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67315" y="3833311"/>
            <a:ext cx="956685" cy="731367"/>
          </a:xfrm>
          <a:prstGeom prst="rect">
            <a:avLst/>
          </a:prstGeom>
        </p:spPr>
        <p:txBody>
          <a:bodyPr wrap="none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6000" b="1" kern="1200" dirty="0">
                <a:gradFill flip="none" rotWithShape="1">
                  <a:gsLst>
                    <a:gs pos="0">
                      <a:schemeClr val="accent1"/>
                    </a:gs>
                    <a:gs pos="97000">
                      <a:schemeClr val="accent3"/>
                    </a:gs>
                  </a:gsLst>
                  <a:lin ang="16200000" scaled="1"/>
                  <a:tileRect/>
                </a:gra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lvl="0" indent="0" algn="l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charset="0"/>
              <a:buNone/>
            </a:pPr>
            <a:r>
              <a:rPr lang="ru-RU" dirty="0"/>
              <a:t>02</a:t>
            </a:r>
            <a:endParaRPr lang="en-US" dirty="0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7DC13605-8615-5F47-9E23-21BCFF9270B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863656" y="1828676"/>
            <a:ext cx="2808287" cy="170827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lvl="0" indent="0" algn="l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charset="0"/>
              <a:buNone/>
            </a:pPr>
            <a:r>
              <a:rPr lang="ru-RU" dirty="0"/>
              <a:t>Текст</a:t>
            </a:r>
            <a:endParaRPr lang="en-US" dirty="0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C5E9F1A1-2C79-244D-9E78-D809AAE85C1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87833" y="1683042"/>
            <a:ext cx="956685" cy="731367"/>
          </a:xfrm>
          <a:prstGeom prst="rect">
            <a:avLst/>
          </a:prstGeom>
        </p:spPr>
        <p:txBody>
          <a:bodyPr wrap="none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6000" b="1" kern="1200" dirty="0">
                <a:gradFill flip="none" rotWithShape="1">
                  <a:gsLst>
                    <a:gs pos="0">
                      <a:schemeClr val="accent1"/>
                    </a:gs>
                    <a:gs pos="97000">
                      <a:schemeClr val="accent3"/>
                    </a:gs>
                  </a:gsLst>
                  <a:lin ang="16200000" scaled="1"/>
                  <a:tileRect/>
                </a:gra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lvl="0" indent="0" algn="l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charset="0"/>
              <a:buNone/>
            </a:pPr>
            <a:r>
              <a:rPr lang="en-US" dirty="0"/>
              <a:t>0</a:t>
            </a:r>
            <a:r>
              <a:rPr lang="ru-RU" dirty="0"/>
              <a:t>3</a:t>
            </a:r>
            <a:endParaRPr lang="en-US" dirty="0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8ABE548B-2496-6448-9C00-4F474C96039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870996" y="3960306"/>
            <a:ext cx="2808287" cy="17372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41E6EC78-49FD-EC4F-AE6F-797294FBBCA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87833" y="3833311"/>
            <a:ext cx="956685" cy="731367"/>
          </a:xfrm>
          <a:prstGeom prst="rect">
            <a:avLst/>
          </a:prstGeom>
        </p:spPr>
        <p:txBody>
          <a:bodyPr wrap="none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6000" b="1" kern="1200" dirty="0">
                <a:gradFill flip="none" rotWithShape="1">
                  <a:gsLst>
                    <a:gs pos="0">
                      <a:schemeClr val="accent1"/>
                    </a:gs>
                    <a:gs pos="97000">
                      <a:schemeClr val="accent3"/>
                    </a:gs>
                  </a:gsLst>
                  <a:lin ang="16200000" scaled="1"/>
                  <a:tileRect/>
                </a:gra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lvl="0" indent="0" algn="l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charset="0"/>
              <a:buNone/>
            </a:pPr>
            <a:r>
              <a:rPr lang="ru-RU" dirty="0"/>
              <a:t>04</a:t>
            </a:r>
            <a:endParaRPr lang="en-US" dirty="0"/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04143966-647E-F34B-B8D9-4F190B3C37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954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F20D2226-2CFF-1BCC-717E-8293673B42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42062094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умерация (проект решений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DB967636-5D46-0445-9743-256D6F52659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09003" y="1174350"/>
            <a:ext cx="4679047" cy="6338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BEBA3CA6-35EC-B545-99A7-771C951EE6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09003" y="2253706"/>
            <a:ext cx="4679047" cy="6338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679B8576-1F06-A045-9781-639D90CCF0B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87374" y="1124860"/>
            <a:ext cx="720725" cy="43211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1</a:t>
            </a:r>
            <a:endParaRPr lang="en-US" dirty="0"/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4E53C26E-8254-D048-A74A-443BC79ADDD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90173" y="2210529"/>
            <a:ext cx="718829" cy="4220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2</a:t>
            </a:r>
            <a:endParaRPr lang="en-US" dirty="0"/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A1989830-E99E-A247-981A-CF6237CECAD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924409" y="1174350"/>
            <a:ext cx="4679047" cy="6338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AC315E49-3426-ED4D-B80E-7FA82D64C2C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924409" y="2253706"/>
            <a:ext cx="4679047" cy="6338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12365AF3-4942-3742-894A-42033FBFDC0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02780" y="1124860"/>
            <a:ext cx="720725" cy="43211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6</a:t>
            </a:r>
            <a:endParaRPr lang="en-US" dirty="0"/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4FD06E6D-45BB-3A4B-B97B-2149B6AC5C7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05579" y="2210529"/>
            <a:ext cx="718829" cy="4220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7</a:t>
            </a:r>
            <a:endParaRPr lang="en-US" dirty="0"/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943DC364-6991-394B-AF4D-6BFFF40ED2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954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41B4B6E9-1595-216C-B830-64168D4DC2C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09003" y="3335361"/>
            <a:ext cx="4679047" cy="6338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903D281C-6DCA-90FC-0549-F6F68456228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90173" y="3291531"/>
            <a:ext cx="718829" cy="4220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3</a:t>
            </a:r>
            <a:endParaRPr lang="en-US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5BDEE750-66C8-8392-E36C-07B512887FB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924409" y="3335361"/>
            <a:ext cx="4679047" cy="6338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37BFC0CF-879F-350D-CCD6-D592F5A77C2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205579" y="3291531"/>
            <a:ext cx="718829" cy="4220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8</a:t>
            </a:r>
            <a:endParaRPr lang="en-US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385BCBC9-CB00-0574-A3E3-2C6409ACDC0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309003" y="4418925"/>
            <a:ext cx="4679047" cy="6338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FB1A768-ACCE-1296-02E0-1F86368D71D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90173" y="4369587"/>
            <a:ext cx="718829" cy="4220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4</a:t>
            </a:r>
            <a:endParaRPr lang="en-US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F9B5AF5-2491-AB55-D788-65973A65062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924409" y="4418925"/>
            <a:ext cx="4679047" cy="6338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5C71F567-FDD6-002B-A2B9-2E004E25CF3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05579" y="4369587"/>
            <a:ext cx="718829" cy="4220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9</a:t>
            </a:r>
            <a:endParaRPr lang="en-US" dirty="0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AD407D13-4408-186A-C089-6338D1D923E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309003" y="5494601"/>
            <a:ext cx="4679047" cy="6338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8330DCE3-022C-F7D0-831A-A2DEAD3126B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90173" y="5450771"/>
            <a:ext cx="718829" cy="4220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5</a:t>
            </a:r>
            <a:endParaRPr lang="en-US" dirty="0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2BE1F052-B425-3481-7BB1-892ACB2EE98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924409" y="5494601"/>
            <a:ext cx="4679047" cy="6338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8E1F1A7D-A582-B16B-BCAB-172E7CBC9B7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05579" y="5450771"/>
            <a:ext cx="718829" cy="4220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10</a:t>
            </a:r>
            <a:endParaRPr lang="en-US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2672BA47-08F6-4752-2743-573E46063E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33332373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Акценты на цифровые знач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Текст 10">
            <a:extLst>
              <a:ext uri="{FF2B5EF4-FFF2-40B4-BE49-F238E27FC236}">
                <a16:creationId xmlns:a16="http://schemas.microsoft.com/office/drawing/2014/main" id="{2FDD5A0D-09D0-774F-9685-8F312DE9C0A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7375" y="2679540"/>
            <a:ext cx="3529013" cy="323389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120000"/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F4678DF5-CCB3-874E-86AC-E652288B925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71673" y="2480070"/>
            <a:ext cx="2584184" cy="1056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B24EEF8D-280A-264E-9121-23277DB793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69827" y="1495397"/>
            <a:ext cx="1533008" cy="7498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6000" b="1" kern="1200" dirty="0">
                <a:gradFill flip="none" rotWithShape="1">
                  <a:gsLst>
                    <a:gs pos="0">
                      <a:schemeClr val="accent1"/>
                    </a:gs>
                    <a:gs pos="97000">
                      <a:schemeClr val="accent3"/>
                    </a:gs>
                  </a:gsLst>
                  <a:lin ang="16200000" scaled="1"/>
                  <a:tileRect/>
                </a:gra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lvl="0" indent="0" algn="l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charset="0"/>
              <a:buNone/>
            </a:pPr>
            <a:r>
              <a:rPr lang="ru-RU" dirty="0"/>
              <a:t>01</a:t>
            </a:r>
            <a:endParaRPr lang="en-US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69F4B89C-95D1-3344-B781-C46E8087EC0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66140" y="4630508"/>
            <a:ext cx="2595160" cy="12825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F6460295-8EBC-6040-8E93-E6154A6AE1A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64652" y="3663868"/>
            <a:ext cx="1533008" cy="7498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6000" b="1" kern="1200" dirty="0">
                <a:gradFill flip="none" rotWithShape="1">
                  <a:gsLst>
                    <a:gs pos="0">
                      <a:schemeClr val="accent1"/>
                    </a:gs>
                    <a:gs pos="97000">
                      <a:schemeClr val="accent3"/>
                    </a:gs>
                  </a:gsLst>
                  <a:lin ang="16200000" scaled="1"/>
                  <a:tileRect/>
                </a:gra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lvl="0" indent="0" algn="l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charset="0"/>
              <a:buNone/>
            </a:pPr>
            <a:r>
              <a:rPr lang="ru-RU" dirty="0"/>
              <a:t>02</a:t>
            </a:r>
            <a:endParaRPr lang="en-US" dirty="0"/>
          </a:p>
        </p:txBody>
      </p:sp>
      <p:sp>
        <p:nvSpPr>
          <p:cNvPr id="36" name="Текст 13">
            <a:extLst>
              <a:ext uri="{FF2B5EF4-FFF2-40B4-BE49-F238E27FC236}">
                <a16:creationId xmlns:a16="http://schemas.microsoft.com/office/drawing/2014/main" id="{D8195300-6EEA-F24A-8000-9877D935DBC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5524" y="1770684"/>
            <a:ext cx="3541024" cy="6867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54" name="Text Placeholder 7">
            <a:extLst>
              <a:ext uri="{FF2B5EF4-FFF2-40B4-BE49-F238E27FC236}">
                <a16:creationId xmlns:a16="http://schemas.microsoft.com/office/drawing/2014/main" id="{F2BBCDA6-A9F0-884B-8224-E0B38229A42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817" y="2480070"/>
            <a:ext cx="2584184" cy="1056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55" name="Text Placeholder 7">
            <a:extLst>
              <a:ext uri="{FF2B5EF4-FFF2-40B4-BE49-F238E27FC236}">
                <a16:creationId xmlns:a16="http://schemas.microsoft.com/office/drawing/2014/main" id="{FD887098-60FA-BE4E-85A9-B3F75D2C0AC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6971" y="1495397"/>
            <a:ext cx="1533008" cy="7498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6000" b="1" kern="1200" dirty="0">
                <a:gradFill flip="none" rotWithShape="1">
                  <a:gsLst>
                    <a:gs pos="0">
                      <a:schemeClr val="accent1"/>
                    </a:gs>
                    <a:gs pos="97000">
                      <a:schemeClr val="accent3"/>
                    </a:gs>
                  </a:gsLst>
                  <a:lin ang="16200000" scaled="1"/>
                  <a:tileRect/>
                </a:gra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lvl="0" indent="0" algn="l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charset="0"/>
              <a:buNone/>
            </a:pPr>
            <a:r>
              <a:rPr lang="ru-RU" dirty="0"/>
              <a:t>03</a:t>
            </a:r>
            <a:endParaRPr lang="en-US" dirty="0"/>
          </a:p>
        </p:txBody>
      </p:sp>
      <p:sp>
        <p:nvSpPr>
          <p:cNvPr id="56" name="Text Placeholder 7">
            <a:extLst>
              <a:ext uri="{FF2B5EF4-FFF2-40B4-BE49-F238E27FC236}">
                <a16:creationId xmlns:a16="http://schemas.microsoft.com/office/drawing/2014/main" id="{951B77FF-4B12-3049-8743-97926F56276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3284" y="4630508"/>
            <a:ext cx="2595160" cy="12825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57" name="Text Placeholder 7">
            <a:extLst>
              <a:ext uri="{FF2B5EF4-FFF2-40B4-BE49-F238E27FC236}">
                <a16:creationId xmlns:a16="http://schemas.microsoft.com/office/drawing/2014/main" id="{AA632B1D-5C32-CB40-9DB8-170F7039068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1796" y="3663868"/>
            <a:ext cx="1533008" cy="7498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6000" b="1" kern="1200" dirty="0">
                <a:gradFill flip="none" rotWithShape="1">
                  <a:gsLst>
                    <a:gs pos="0">
                      <a:schemeClr val="accent1"/>
                    </a:gs>
                    <a:gs pos="97000">
                      <a:schemeClr val="accent3"/>
                    </a:gs>
                  </a:gsLst>
                  <a:lin ang="16200000" scaled="1"/>
                  <a:tileRect/>
                </a:gra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lvl="0" indent="0" algn="l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charset="0"/>
              <a:buNone/>
            </a:pPr>
            <a:r>
              <a:rPr lang="ru-RU" dirty="0"/>
              <a:t>04</a:t>
            </a:r>
            <a:endParaRPr lang="en-US" dirty="0"/>
          </a:p>
        </p:txBody>
      </p:sp>
      <p:sp>
        <p:nvSpPr>
          <p:cNvPr id="58" name="Text Placeholder 7">
            <a:extLst>
              <a:ext uri="{FF2B5EF4-FFF2-40B4-BE49-F238E27FC236}">
                <a16:creationId xmlns:a16="http://schemas.microsoft.com/office/drawing/2014/main" id="{6E01F9A5-6845-8C47-805B-E9B9617D5A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954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1047AA9D-1307-1AF3-A9A5-310BDC1B7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17977643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Автоматические булли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Текст 10">
            <a:extLst>
              <a:ext uri="{FF2B5EF4-FFF2-40B4-BE49-F238E27FC236}">
                <a16:creationId xmlns:a16="http://schemas.microsoft.com/office/drawing/2014/main" id="{7C5FB82A-8323-464A-9753-EE54DF76F7D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6900" y="2692105"/>
            <a:ext cx="5391150" cy="3005433"/>
          </a:xfrm>
          <a:prstGeom prst="rect">
            <a:avLst/>
          </a:prstGeom>
        </p:spPr>
        <p:txBody>
          <a:bodyPr lIns="0" tIns="0" rIns="0" bIns="0"/>
          <a:lstStyle>
            <a:lvl1pPr marL="324000" indent="-324000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SzPct val="100000"/>
              <a:defRPr sz="1600"/>
            </a:lvl1pPr>
          </a:lstStyle>
          <a:p>
            <a:pPr lvl="0"/>
            <a:endParaRPr lang="ru-RU" dirty="0"/>
          </a:p>
        </p:txBody>
      </p:sp>
      <p:sp>
        <p:nvSpPr>
          <p:cNvPr id="16" name="Текст 13">
            <a:extLst>
              <a:ext uri="{FF2B5EF4-FFF2-40B4-BE49-F238E27FC236}">
                <a16:creationId xmlns:a16="http://schemas.microsoft.com/office/drawing/2014/main" id="{6317B7CF-E802-F942-B3CF-4BCBC19C84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5320" y="1778221"/>
            <a:ext cx="4802530" cy="40011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9" name="Текст 10">
            <a:extLst>
              <a:ext uri="{FF2B5EF4-FFF2-40B4-BE49-F238E27FC236}">
                <a16:creationId xmlns:a16="http://schemas.microsoft.com/office/drawing/2014/main" id="{DBC5C2C9-5956-7842-905E-11BB7A5DBCA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07477" y="2692105"/>
            <a:ext cx="5397147" cy="3005433"/>
          </a:xfrm>
          <a:prstGeom prst="rect">
            <a:avLst/>
          </a:prstGeom>
        </p:spPr>
        <p:txBody>
          <a:bodyPr lIns="0" tIns="0" rIns="0" bIns="0"/>
          <a:lstStyle>
            <a:lvl1pPr marL="324000" indent="-324000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SzPct val="100000"/>
              <a:defRPr sz="1600"/>
            </a:lvl1pPr>
          </a:lstStyle>
          <a:p>
            <a:pPr lvl="0"/>
            <a:endParaRPr lang="ru-RU" dirty="0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FA33DA4D-5F07-5547-A2EC-742BDE325A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954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1A3CCA26-46AA-177A-1A95-FD899E670F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29739121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 пиктограмм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Рисунок 37">
            <a:extLst>
              <a:ext uri="{FF2B5EF4-FFF2-40B4-BE49-F238E27FC236}">
                <a16:creationId xmlns:a16="http://schemas.microsoft.com/office/drawing/2014/main" id="{3AD56FE5-CF6D-EA4A-B34C-8D42F223869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87375" y="1735473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ru-RU" dirty="0"/>
          </a:p>
        </p:txBody>
      </p:sp>
      <p:sp>
        <p:nvSpPr>
          <p:cNvPr id="22" name="Рисунок 37">
            <a:extLst>
              <a:ext uri="{FF2B5EF4-FFF2-40B4-BE49-F238E27FC236}">
                <a16:creationId xmlns:a16="http://schemas.microsoft.com/office/drawing/2014/main" id="{1ACE8982-5E36-AF47-9F45-29E44C95270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87375" y="3679825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ru-RU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ED37180F-67D1-FB42-BB79-26B9C65743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23999" y="1830621"/>
            <a:ext cx="3527425" cy="149042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978DD0F7-E7F6-3647-998F-2C0D8AA643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23999" y="3776549"/>
            <a:ext cx="3527425" cy="14904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50" name="Рисунок 37">
            <a:extLst>
              <a:ext uri="{FF2B5EF4-FFF2-40B4-BE49-F238E27FC236}">
                <a16:creationId xmlns:a16="http://schemas.microsoft.com/office/drawing/2014/main" id="{30DFC402-BC3F-304E-B881-DE7B050A858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12320" y="1735473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ru-RU" dirty="0"/>
          </a:p>
        </p:txBody>
      </p:sp>
      <p:sp>
        <p:nvSpPr>
          <p:cNvPr id="51" name="Рисунок 37">
            <a:extLst>
              <a:ext uri="{FF2B5EF4-FFF2-40B4-BE49-F238E27FC236}">
                <a16:creationId xmlns:a16="http://schemas.microsoft.com/office/drawing/2014/main" id="{24B6F667-B54D-B344-8297-25B5324224F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212320" y="3679825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ru-RU" dirty="0"/>
          </a:p>
        </p:txBody>
      </p:sp>
      <p:sp>
        <p:nvSpPr>
          <p:cNvPr id="52" name="Text Placeholder 7">
            <a:extLst>
              <a:ext uri="{FF2B5EF4-FFF2-40B4-BE49-F238E27FC236}">
                <a16:creationId xmlns:a16="http://schemas.microsoft.com/office/drawing/2014/main" id="{6F96E179-1ACC-B142-B8E2-E6FEB5458E1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48944" y="1830621"/>
            <a:ext cx="3519055" cy="149042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97F42C98-ED67-8B4F-AC97-779A294421A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48944" y="3776549"/>
            <a:ext cx="3519055" cy="14904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54" name="Text Placeholder 7">
            <a:extLst>
              <a:ext uri="{FF2B5EF4-FFF2-40B4-BE49-F238E27FC236}">
                <a16:creationId xmlns:a16="http://schemas.microsoft.com/office/drawing/2014/main" id="{C0833A51-398A-2A46-9AE2-B2CEA50E98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954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84BE294E-1D6C-B162-81F0-C2153445A3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27597249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нкты с символ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Рисунок 3">
            <a:extLst>
              <a:ext uri="{FF2B5EF4-FFF2-40B4-BE49-F238E27FC236}">
                <a16:creationId xmlns:a16="http://schemas.microsoft.com/office/drawing/2014/main" id="{7C3C1AAB-1403-6B46-85FD-B05EEBB725E4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587375" y="4193841"/>
            <a:ext cx="360000" cy="36036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ru-RU" dirty="0"/>
              <a:t>р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070A2CF3-8814-D549-8AD1-D3E9FE64650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1308100" y="4202923"/>
            <a:ext cx="2808288" cy="6337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5" name="Рисунок 3">
            <a:extLst>
              <a:ext uri="{FF2B5EF4-FFF2-40B4-BE49-F238E27FC236}">
                <a16:creationId xmlns:a16="http://schemas.microsoft.com/office/drawing/2014/main" id="{62D9BC24-C3A8-8943-B49D-05C632C2066A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592372" y="5061109"/>
            <a:ext cx="360000" cy="36036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ru-RU" dirty="0"/>
              <a:t>р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F840D1C0-9F64-7B4B-AC0F-F55F3C62113D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1308099" y="5067542"/>
            <a:ext cx="2808287" cy="63372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50EC2D56-CD1C-604D-AC86-7B7FCC60AFD9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587374" y="2258783"/>
            <a:ext cx="5400675" cy="14939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8" name="Текст 13">
            <a:extLst>
              <a:ext uri="{FF2B5EF4-FFF2-40B4-BE49-F238E27FC236}">
                <a16:creationId xmlns:a16="http://schemas.microsoft.com/office/drawing/2014/main" id="{ACCE3CEA-6D58-E641-9830-860F3A93122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4058" y="1348002"/>
            <a:ext cx="5413992" cy="40011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BDA8558D-A2DA-8049-AEBA-44CF8C79F494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203953" y="2258783"/>
            <a:ext cx="5400675" cy="14939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30" name="Рисунок 3">
            <a:extLst>
              <a:ext uri="{FF2B5EF4-FFF2-40B4-BE49-F238E27FC236}">
                <a16:creationId xmlns:a16="http://schemas.microsoft.com/office/drawing/2014/main" id="{101F3F63-0914-9E46-A4B3-69E00C34C607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4329919" y="4193841"/>
            <a:ext cx="360000" cy="36036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ru-RU" dirty="0"/>
              <a:t>р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E671F133-703A-E64D-884D-9F2EC55C553A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5050644" y="4202923"/>
            <a:ext cx="2808288" cy="6337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32" name="Рисунок 3">
            <a:extLst>
              <a:ext uri="{FF2B5EF4-FFF2-40B4-BE49-F238E27FC236}">
                <a16:creationId xmlns:a16="http://schemas.microsoft.com/office/drawing/2014/main" id="{CE5E5418-8746-9D47-A671-63F99ECC06FE}"/>
              </a:ext>
            </a:extLst>
          </p:cNvPr>
          <p:cNvSpPr>
            <a:spLocks noGrp="1"/>
          </p:cNvSpPr>
          <p:nvPr>
            <p:ph type="pic" sz="quarter" idx="72" hasCustomPrompt="1"/>
          </p:nvPr>
        </p:nvSpPr>
        <p:spPr>
          <a:xfrm>
            <a:off x="4334916" y="5061109"/>
            <a:ext cx="360000" cy="36036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ru-RU" dirty="0"/>
              <a:t>р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D67A0FD6-6983-2E4A-B539-8C4AFC592DE8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5050643" y="5067542"/>
            <a:ext cx="2808287" cy="63372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34" name="Рисунок 3">
            <a:extLst>
              <a:ext uri="{FF2B5EF4-FFF2-40B4-BE49-F238E27FC236}">
                <a16:creationId xmlns:a16="http://schemas.microsoft.com/office/drawing/2014/main" id="{1BC6A58C-4C4E-0944-84A5-76CDF5286452}"/>
              </a:ext>
            </a:extLst>
          </p:cNvPr>
          <p:cNvSpPr>
            <a:spLocks noGrp="1"/>
          </p:cNvSpPr>
          <p:nvPr>
            <p:ph type="pic" sz="quarter" idx="74" hasCustomPrompt="1"/>
          </p:nvPr>
        </p:nvSpPr>
        <p:spPr>
          <a:xfrm>
            <a:off x="8077460" y="4193841"/>
            <a:ext cx="360000" cy="36036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ru-RU" dirty="0"/>
              <a:t>р</a:t>
            </a:r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AC06D70C-FAB9-D24A-B094-743BB496FA0B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8798185" y="4202923"/>
            <a:ext cx="2808288" cy="6337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36" name="Рисунок 3">
            <a:extLst>
              <a:ext uri="{FF2B5EF4-FFF2-40B4-BE49-F238E27FC236}">
                <a16:creationId xmlns:a16="http://schemas.microsoft.com/office/drawing/2014/main" id="{2F046685-C421-934C-8AAC-7F2604D97D97}"/>
              </a:ext>
            </a:extLst>
          </p:cNvPr>
          <p:cNvSpPr>
            <a:spLocks noGrp="1"/>
          </p:cNvSpPr>
          <p:nvPr>
            <p:ph type="pic" sz="quarter" idx="76" hasCustomPrompt="1"/>
          </p:nvPr>
        </p:nvSpPr>
        <p:spPr>
          <a:xfrm>
            <a:off x="8082457" y="5061109"/>
            <a:ext cx="360000" cy="36036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ru-RU" dirty="0"/>
              <a:t>р</a:t>
            </a:r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906D477E-AD21-B841-9DCF-A13C1D667038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8798184" y="5067542"/>
            <a:ext cx="2808287" cy="63372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2C4E3DC2-CED7-E344-B2AC-0EC32BAA690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954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833A7E51-FE29-3837-E02D-A63E324ECD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28846505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0EE7E2F3-C7D0-DF48-A00E-8B33ABE8E0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09370" y="2475441"/>
            <a:ext cx="4678680" cy="6297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2D61247B-D52C-2740-A2C5-A530D90BE87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87375" y="2410389"/>
            <a:ext cx="721995" cy="4332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1</a:t>
            </a:r>
            <a:endParaRPr lang="en-US" dirty="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2BD02B7B-77D5-AD4A-BD92-5A97B68CC90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308100" y="3127022"/>
            <a:ext cx="4679950" cy="62582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04563121-9777-964E-8C93-E620D49D09D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97412" y="3059494"/>
            <a:ext cx="710688" cy="4419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2</a:t>
            </a:r>
            <a:endParaRPr lang="en-US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1DF7DCF2-60BF-154D-8BFF-922AFFA0241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14910" y="4207050"/>
            <a:ext cx="4679950" cy="6268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D5F9B87E-0C49-7148-B1E4-9DA4167E522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97412" y="4138995"/>
            <a:ext cx="717498" cy="431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3</a:t>
            </a:r>
            <a:endParaRPr lang="en-US" dirty="0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407B9EA-BE4D-744F-B1D0-7826F89FCA0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308100" y="4859625"/>
            <a:ext cx="4686760" cy="6220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234511A2-8A3D-C34D-BABB-BC316D6339D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97411" y="4803050"/>
            <a:ext cx="710687" cy="4170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4</a:t>
            </a:r>
            <a:endParaRPr lang="en-US" dirty="0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E7928538-DB16-3E4F-9B9F-C4F309A17BD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140575" y="2475440"/>
            <a:ext cx="4464050" cy="127741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7CBDE216-F61B-4D4A-B5BF-A5E505D4333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145388" y="4202620"/>
            <a:ext cx="4449200" cy="12790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31" name="Текст 13">
            <a:extLst>
              <a:ext uri="{FF2B5EF4-FFF2-40B4-BE49-F238E27FC236}">
                <a16:creationId xmlns:a16="http://schemas.microsoft.com/office/drawing/2014/main" id="{4D5A2C62-559D-A74C-A444-C6B8CC73E8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2398" y="1563840"/>
            <a:ext cx="5395651" cy="40011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50D74FE3-44A9-EC4C-8C69-547050223B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954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EDF32613-6D2E-54E7-16EF-9333D1283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20617255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овые блоки с символ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8886A441-591F-9244-A489-295B1D7D51F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954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DF054FF2-AFA1-8047-87A0-35CE6528444B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92541" y="2480049"/>
            <a:ext cx="3525268" cy="32230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2" name="Рисунок 3">
            <a:extLst>
              <a:ext uri="{FF2B5EF4-FFF2-40B4-BE49-F238E27FC236}">
                <a16:creationId xmlns:a16="http://schemas.microsoft.com/office/drawing/2014/main" id="{3094DF6D-9C1B-1A40-8DCE-53E41DE85D36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4338551" y="1828471"/>
            <a:ext cx="360000" cy="36036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ru-RU" dirty="0"/>
              <a:t>р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E31C5814-6F67-0C44-876B-13D5F03D96F6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5063464" y="1832528"/>
            <a:ext cx="2797836" cy="170999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7" name="Рисунок 3">
            <a:extLst>
              <a:ext uri="{FF2B5EF4-FFF2-40B4-BE49-F238E27FC236}">
                <a16:creationId xmlns:a16="http://schemas.microsoft.com/office/drawing/2014/main" id="{EDA5CD73-E66B-0F4B-9C8E-4C13F1F937A9}"/>
              </a:ext>
            </a:extLst>
          </p:cNvPr>
          <p:cNvSpPr>
            <a:spLocks noGrp="1"/>
          </p:cNvSpPr>
          <p:nvPr>
            <p:ph type="pic" sz="quarter" idx="77" hasCustomPrompt="1"/>
          </p:nvPr>
        </p:nvSpPr>
        <p:spPr>
          <a:xfrm>
            <a:off x="4338551" y="3764036"/>
            <a:ext cx="360000" cy="36036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ru-RU" dirty="0"/>
              <a:t>р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FFC3865D-8AC5-1742-9B56-92FBE1CCB38B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5063464" y="3777214"/>
            <a:ext cx="2797836" cy="19258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9" name="Текст 13">
            <a:extLst>
              <a:ext uri="{FF2B5EF4-FFF2-40B4-BE49-F238E27FC236}">
                <a16:creationId xmlns:a16="http://schemas.microsoft.com/office/drawing/2014/main" id="{FFF0FE7D-141F-0F4B-A775-E3747FEB419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1118" y="1561632"/>
            <a:ext cx="3525269" cy="6743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30" name="Рисунок 3">
            <a:extLst>
              <a:ext uri="{FF2B5EF4-FFF2-40B4-BE49-F238E27FC236}">
                <a16:creationId xmlns:a16="http://schemas.microsoft.com/office/drawing/2014/main" id="{1AF385B8-6C17-D84D-AFAD-A1F8A8C5D8DF}"/>
              </a:ext>
            </a:extLst>
          </p:cNvPr>
          <p:cNvSpPr>
            <a:spLocks noGrp="1"/>
          </p:cNvSpPr>
          <p:nvPr>
            <p:ph type="pic" sz="quarter" idx="79" hasCustomPrompt="1"/>
          </p:nvPr>
        </p:nvSpPr>
        <p:spPr>
          <a:xfrm>
            <a:off x="8075601" y="1828471"/>
            <a:ext cx="360000" cy="36036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ru-RU" dirty="0"/>
              <a:t>р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C1D2E84C-9516-C247-8022-F741A47642C1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8800514" y="1832528"/>
            <a:ext cx="2797836" cy="170999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32" name="Рисунок 3">
            <a:extLst>
              <a:ext uri="{FF2B5EF4-FFF2-40B4-BE49-F238E27FC236}">
                <a16:creationId xmlns:a16="http://schemas.microsoft.com/office/drawing/2014/main" id="{DBC0B1E4-99F3-8949-BCA2-7A574BFFB005}"/>
              </a:ext>
            </a:extLst>
          </p:cNvPr>
          <p:cNvSpPr>
            <a:spLocks noGrp="1"/>
          </p:cNvSpPr>
          <p:nvPr>
            <p:ph type="pic" sz="quarter" idx="81" hasCustomPrompt="1"/>
          </p:nvPr>
        </p:nvSpPr>
        <p:spPr>
          <a:xfrm>
            <a:off x="8075601" y="3764036"/>
            <a:ext cx="360000" cy="36036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ru-RU" dirty="0"/>
              <a:t>р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2961AA0B-05BE-8347-A890-35CC9FCE992B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8800514" y="3777214"/>
            <a:ext cx="2797836" cy="19258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342207D1-C7AE-F1C8-8705-A5D401EE2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1831044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ита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2F446420-C087-604A-8BC8-25F0CF43B03F}"/>
              </a:ext>
            </a:extLst>
          </p:cNvPr>
          <p:cNvSpPr/>
          <p:nvPr userDrawn="1"/>
        </p:nvSpPr>
        <p:spPr>
          <a:xfrm>
            <a:off x="591452" y="1592262"/>
            <a:ext cx="5396598" cy="3889375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3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53">
              <a:solidFill>
                <a:srgbClr val="333333"/>
              </a:solidFill>
            </a:endParaRP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97B1945D-1A5E-D140-8AC1-0541B6DB4AE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40575" y="3132531"/>
            <a:ext cx="4464050" cy="23491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E417197E-1E3A-D54C-B6EB-AB906E8FD0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93583" y="1732702"/>
            <a:ext cx="1702755" cy="94064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6000" b="1" kern="1200" dirty="0">
                <a:gradFill flip="none" rotWithShape="1">
                  <a:gsLst>
                    <a:gs pos="0">
                      <a:schemeClr val="accent1"/>
                    </a:gs>
                    <a:gs pos="97000">
                      <a:schemeClr val="accent3"/>
                    </a:gs>
                  </a:gsLst>
                  <a:lin ang="16200000" scaled="1"/>
                  <a:tileRect/>
                </a:gra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lvl="0" indent="0" algn="l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charset="0"/>
              <a:buNone/>
            </a:pPr>
            <a:r>
              <a:rPr lang="ru-RU" dirty="0"/>
              <a:t>1500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ED02FBB-1FAB-544E-8FF5-FA678B8FFA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59038" y="2032464"/>
            <a:ext cx="2592387" cy="258398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i="1" kern="12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Цитата</a:t>
            </a:r>
            <a:endParaRPr lang="en-US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B77834AB-2614-F340-A1FC-72CFED2227F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59038" y="4878899"/>
            <a:ext cx="2592387" cy="40109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400" i="1" kern="12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Подпись</a:t>
            </a:r>
            <a:endParaRPr lang="en-US" dirty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C41ACC62-6091-054C-BA7D-68C546FE45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954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7476D521-B121-8D44-89CF-BAE8A64104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21902" y="2024063"/>
            <a:ext cx="779144" cy="649287"/>
          </a:xfrm>
          <a:prstGeom prst="rect">
            <a:avLst/>
          </a:prstGeom>
        </p:spPr>
      </p:pic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B71FF41B-F23B-F0B1-186B-0B127938A5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3449473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изобра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id="{F0545DCA-5F07-9B4F-998F-287538094C5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87376" y="1371600"/>
            <a:ext cx="11017250" cy="41100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Рисунок</a:t>
            </a:r>
          </a:p>
        </p:txBody>
      </p:sp>
      <p:sp>
        <p:nvSpPr>
          <p:cNvPr id="9" name="Текст 8">
            <a:extLst>
              <a:ext uri="{FF2B5EF4-FFF2-40B4-BE49-F238E27FC236}">
                <a16:creationId xmlns:a16="http://schemas.microsoft.com/office/drawing/2014/main" id="{78A2D75B-EE45-3047-8899-7B2CE09FBA0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5764000"/>
            <a:ext cx="5400675" cy="28388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ru-RU" sz="1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Рис. 1 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D0878598-4F2D-7F44-B67A-32429BD6BD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954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EB2B7431-95AF-5B49-909D-36CEA6405F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8085777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719669" y="541338"/>
            <a:ext cx="7423151" cy="459206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3200" b="1" kern="120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19667" y="6170207"/>
            <a:ext cx="6311900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Номер слайда 3"/>
          <p:cNvSpPr txBox="1">
            <a:spLocks/>
          </p:cNvSpPr>
          <p:nvPr userDrawn="1"/>
        </p:nvSpPr>
        <p:spPr>
          <a:xfrm>
            <a:off x="10701867" y="6170207"/>
            <a:ext cx="772584" cy="14645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D7563AF-3E27-4699-B4F1-10C22348B958}" type="slidenum">
              <a:rPr lang="ru-RU" sz="70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19667" y="1981202"/>
            <a:ext cx="5204884" cy="1510863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•"/>
              <a:defRPr lang="en-US" sz="1200" kern="1200" dirty="0">
                <a:solidFill>
                  <a:sysClr val="windowText" lastClr="0000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6263219" y="1981202"/>
            <a:ext cx="5209116" cy="1510863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719667" y="3602259"/>
            <a:ext cx="5204884" cy="1510863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•"/>
              <a:defRPr lang="en-US" sz="1200" kern="1200" dirty="0">
                <a:solidFill>
                  <a:sysClr val="windowText" lastClr="0000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263219" y="3602259"/>
            <a:ext cx="5209116" cy="1510863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57273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изображ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EEF6CF0-12A6-E243-B668-F83E7E36E0F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954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14" name="Рисунок 2">
            <a:extLst>
              <a:ext uri="{FF2B5EF4-FFF2-40B4-BE49-F238E27FC236}">
                <a16:creationId xmlns:a16="http://schemas.microsoft.com/office/drawing/2014/main" id="{C9669D34-2DA2-C044-A937-297F1744E62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87376" y="1371600"/>
            <a:ext cx="5400674" cy="41100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Рисунок</a:t>
            </a:r>
          </a:p>
        </p:txBody>
      </p:sp>
      <p:sp>
        <p:nvSpPr>
          <p:cNvPr id="15" name="Текст 8">
            <a:extLst>
              <a:ext uri="{FF2B5EF4-FFF2-40B4-BE49-F238E27FC236}">
                <a16:creationId xmlns:a16="http://schemas.microsoft.com/office/drawing/2014/main" id="{6DAE581E-F8E2-1F40-8180-617A8CFBD8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5764351"/>
            <a:ext cx="5400675" cy="28388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ru-RU" sz="1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Рис. 1 </a:t>
            </a:r>
          </a:p>
        </p:txBody>
      </p:sp>
      <p:sp>
        <p:nvSpPr>
          <p:cNvPr id="16" name="Рисунок 2">
            <a:extLst>
              <a:ext uri="{FF2B5EF4-FFF2-40B4-BE49-F238E27FC236}">
                <a16:creationId xmlns:a16="http://schemas.microsoft.com/office/drawing/2014/main" id="{CB70A475-167C-9F4F-88DF-FA62EFBE9B1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10936" y="1371600"/>
            <a:ext cx="5400674" cy="41100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Рисунок</a:t>
            </a:r>
          </a:p>
        </p:txBody>
      </p:sp>
      <p:sp>
        <p:nvSpPr>
          <p:cNvPr id="17" name="Текст 8">
            <a:extLst>
              <a:ext uri="{FF2B5EF4-FFF2-40B4-BE49-F238E27FC236}">
                <a16:creationId xmlns:a16="http://schemas.microsoft.com/office/drawing/2014/main" id="{42624E9C-4071-7E40-A25B-05778624C53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0935" y="5764351"/>
            <a:ext cx="5400675" cy="28388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ru-RU" sz="1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Рис. </a:t>
            </a:r>
            <a:r>
              <a:rPr lang="en-US" dirty="0"/>
              <a:t>2</a:t>
            </a:r>
            <a:r>
              <a:rPr lang="ru-RU" dirty="0"/>
              <a:t> 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09AB3D7F-F70E-F016-E598-43E60DF87E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26705105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зображение с текстом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>
            <a:extLst>
              <a:ext uri="{FF2B5EF4-FFF2-40B4-BE49-F238E27FC236}">
                <a16:creationId xmlns:a16="http://schemas.microsoft.com/office/drawing/2014/main" id="{ADA75E83-254F-3849-BD78-035E1CA1D13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94933" y="1401482"/>
            <a:ext cx="5400674" cy="45119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ru-RU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DD5286B-E0AF-5B4A-81CF-C28C8153A5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954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12" name="Рисунок 2">
            <a:extLst>
              <a:ext uri="{FF2B5EF4-FFF2-40B4-BE49-F238E27FC236}">
                <a16:creationId xmlns:a16="http://schemas.microsoft.com/office/drawing/2014/main" id="{A05089AB-E279-8240-94F5-CA3A774C20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10936" y="1371600"/>
            <a:ext cx="5400674" cy="38941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Рисунок</a:t>
            </a:r>
          </a:p>
        </p:txBody>
      </p:sp>
      <p:sp>
        <p:nvSpPr>
          <p:cNvPr id="13" name="Текст 8">
            <a:extLst>
              <a:ext uri="{FF2B5EF4-FFF2-40B4-BE49-F238E27FC236}">
                <a16:creationId xmlns:a16="http://schemas.microsoft.com/office/drawing/2014/main" id="{6FC49C17-14DF-BC4E-A139-40A9F5FED10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0935" y="5548038"/>
            <a:ext cx="5400675" cy="365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ru-RU" sz="1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Рис. </a:t>
            </a:r>
            <a:r>
              <a:rPr lang="en-US" dirty="0"/>
              <a:t>1</a:t>
            </a:r>
            <a:r>
              <a:rPr lang="ru-RU" dirty="0"/>
              <a:t> 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E7A76E15-6CBA-FC25-7458-E7D6437D39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10781531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зображение с текстом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Текст 3">
            <a:extLst>
              <a:ext uri="{FF2B5EF4-FFF2-40B4-BE49-F238E27FC236}">
                <a16:creationId xmlns:a16="http://schemas.microsoft.com/office/drawing/2014/main" id="{DEF9AF94-AF2C-5545-9124-03F37A88816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32880" y="4850463"/>
            <a:ext cx="3528419" cy="10629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ru-RU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16" name="Текст 3">
            <a:extLst>
              <a:ext uri="{FF2B5EF4-FFF2-40B4-BE49-F238E27FC236}">
                <a16:creationId xmlns:a16="http://schemas.microsoft.com/office/drawing/2014/main" id="{C4157D73-0DF7-9A47-B5FF-594131097E3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81121" y="1398692"/>
            <a:ext cx="3523504" cy="45147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ru-RU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12" name="Текст 3">
            <a:extLst>
              <a:ext uri="{FF2B5EF4-FFF2-40B4-BE49-F238E27FC236}">
                <a16:creationId xmlns:a16="http://schemas.microsoft.com/office/drawing/2014/main" id="{AB88ECA1-56CB-E24C-97F9-EED587F7381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87375" y="4856743"/>
            <a:ext cx="3529013" cy="105669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ru-RU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33AFE0B-2B6E-0249-82CA-99A42098B6D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954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18" name="Рисунок 2">
            <a:extLst>
              <a:ext uri="{FF2B5EF4-FFF2-40B4-BE49-F238E27FC236}">
                <a16:creationId xmlns:a16="http://schemas.microsoft.com/office/drawing/2014/main" id="{37351567-5A75-AB41-A4F2-20722C0ED27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87376" y="1371600"/>
            <a:ext cx="7273924" cy="281305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Рисунок</a:t>
            </a:r>
          </a:p>
        </p:txBody>
      </p:sp>
      <p:sp>
        <p:nvSpPr>
          <p:cNvPr id="19" name="Текст 8">
            <a:extLst>
              <a:ext uri="{FF2B5EF4-FFF2-40B4-BE49-F238E27FC236}">
                <a16:creationId xmlns:a16="http://schemas.microsoft.com/office/drawing/2014/main" id="{81EF912D-33AA-A94A-86AC-1B1DFC6871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5" y="4467370"/>
            <a:ext cx="7273925" cy="36656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ru-RU" sz="1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Рис. 1 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DF57E3EB-400B-CAF3-3B7B-51207AFCBD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16989107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зображения с текстом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Текст 8">
            <a:extLst>
              <a:ext uri="{FF2B5EF4-FFF2-40B4-BE49-F238E27FC236}">
                <a16:creationId xmlns:a16="http://schemas.microsoft.com/office/drawing/2014/main" id="{E6C5B4B7-2176-B642-9AE1-8E9B7A1C61D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7375" y="3391260"/>
            <a:ext cx="3529013" cy="279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ru-RU" sz="1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Рис. 1 </a:t>
            </a:r>
          </a:p>
        </p:txBody>
      </p:sp>
      <p:sp>
        <p:nvSpPr>
          <p:cNvPr id="20" name="Текст 3">
            <a:extLst>
              <a:ext uri="{FF2B5EF4-FFF2-40B4-BE49-F238E27FC236}">
                <a16:creationId xmlns:a16="http://schemas.microsoft.com/office/drawing/2014/main" id="{84CC0ACD-0019-714F-B129-00DA210EC16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91457" y="3772436"/>
            <a:ext cx="3522145" cy="23569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ru-RU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15" name="Текст 3">
            <a:extLst>
              <a:ext uri="{FF2B5EF4-FFF2-40B4-BE49-F238E27FC236}">
                <a16:creationId xmlns:a16="http://schemas.microsoft.com/office/drawing/2014/main" id="{C71679BA-C274-474C-BCE9-F731232A110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33875" y="1393993"/>
            <a:ext cx="3527425" cy="214295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ru-RU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16" name="Текст 3">
            <a:extLst>
              <a:ext uri="{FF2B5EF4-FFF2-40B4-BE49-F238E27FC236}">
                <a16:creationId xmlns:a16="http://schemas.microsoft.com/office/drawing/2014/main" id="{E1D2EC79-6CB8-C543-AF99-E761E59AA55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078399" y="3776517"/>
            <a:ext cx="3526226" cy="23528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ru-RU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81B3C69-B5A0-E44C-A513-F55A9634AF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954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24" name="Рисунок 2">
            <a:extLst>
              <a:ext uri="{FF2B5EF4-FFF2-40B4-BE49-F238E27FC236}">
                <a16:creationId xmlns:a16="http://schemas.microsoft.com/office/drawing/2014/main" id="{0FE66DA0-C756-394F-B4BA-229BD35D773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87376" y="1371600"/>
            <a:ext cx="3529012" cy="173355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Рисунок</a:t>
            </a:r>
          </a:p>
        </p:txBody>
      </p:sp>
      <p:sp>
        <p:nvSpPr>
          <p:cNvPr id="25" name="Рисунок 2">
            <a:extLst>
              <a:ext uri="{FF2B5EF4-FFF2-40B4-BE49-F238E27FC236}">
                <a16:creationId xmlns:a16="http://schemas.microsoft.com/office/drawing/2014/main" id="{DA60748A-5C46-C14D-A871-8871C906CFB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078399" y="1371600"/>
            <a:ext cx="3529012" cy="173355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Рисунок</a:t>
            </a:r>
          </a:p>
        </p:txBody>
      </p:sp>
      <p:sp>
        <p:nvSpPr>
          <p:cNvPr id="28" name="Текст 8">
            <a:extLst>
              <a:ext uri="{FF2B5EF4-FFF2-40B4-BE49-F238E27FC236}">
                <a16:creationId xmlns:a16="http://schemas.microsoft.com/office/drawing/2014/main" id="{9542F78C-86CC-8146-83BF-D271C3E4626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83550" y="3391260"/>
            <a:ext cx="3529013" cy="2799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ru-RU" sz="1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Рис. </a:t>
            </a:r>
            <a:r>
              <a:rPr lang="en-US"/>
              <a:t>3</a:t>
            </a:r>
            <a:r>
              <a:rPr lang="ru-RU"/>
              <a:t> </a:t>
            </a:r>
            <a:endParaRPr lang="ru-RU" dirty="0"/>
          </a:p>
        </p:txBody>
      </p:sp>
      <p:sp>
        <p:nvSpPr>
          <p:cNvPr id="18" name="Текст 8">
            <a:extLst>
              <a:ext uri="{FF2B5EF4-FFF2-40B4-BE49-F238E27FC236}">
                <a16:creationId xmlns:a16="http://schemas.microsoft.com/office/drawing/2014/main" id="{0A277BA2-108C-74E5-5942-1FCB41C043B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33875" y="5772064"/>
            <a:ext cx="3529013" cy="35727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ru-RU" sz="1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Рис. </a:t>
            </a:r>
            <a:r>
              <a:rPr lang="en-US" dirty="0"/>
              <a:t>2</a:t>
            </a:r>
            <a:r>
              <a:rPr lang="ru-RU" dirty="0"/>
              <a:t> </a:t>
            </a:r>
          </a:p>
        </p:txBody>
      </p:sp>
      <p:sp>
        <p:nvSpPr>
          <p:cNvPr id="21" name="Рисунок 2">
            <a:extLst>
              <a:ext uri="{FF2B5EF4-FFF2-40B4-BE49-F238E27FC236}">
                <a16:creationId xmlns:a16="http://schemas.microsoft.com/office/drawing/2014/main" id="{1F9B5977-E614-895A-0E69-F69229C17A3D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333876" y="3752850"/>
            <a:ext cx="3529012" cy="173518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Рисунок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E781EA82-E0A0-B533-23CB-F1E86B2BD0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22058011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зображения с текстом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Текст 3">
            <a:extLst>
              <a:ext uri="{FF2B5EF4-FFF2-40B4-BE49-F238E27FC236}">
                <a16:creationId xmlns:a16="http://schemas.microsoft.com/office/drawing/2014/main" id="{C1A17514-0D18-5548-8C07-628BBF23DE3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03952" y="1394405"/>
            <a:ext cx="5400673" cy="17107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ru-RU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D33F79F1-BC7F-CD43-9EC1-A49AC3AF53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77026" y="3523293"/>
            <a:ext cx="933527" cy="66135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5400" b="1" kern="1200" dirty="0">
                <a:gradFill flip="none" rotWithShape="1">
                  <a:gsLst>
                    <a:gs pos="0">
                      <a:schemeClr val="accent1"/>
                    </a:gs>
                    <a:gs pos="97000">
                      <a:schemeClr val="accent3"/>
                    </a:gs>
                  </a:gsLst>
                  <a:lin ang="16200000" scaled="1"/>
                  <a:tileRect/>
                </a:gra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1</a:t>
            </a:r>
            <a:endParaRPr lang="en-US" dirty="0"/>
          </a:p>
        </p:txBody>
      </p:sp>
      <p:sp>
        <p:nvSpPr>
          <p:cNvPr id="40" name="Рисунок 2">
            <a:extLst>
              <a:ext uri="{FF2B5EF4-FFF2-40B4-BE49-F238E27FC236}">
                <a16:creationId xmlns:a16="http://schemas.microsoft.com/office/drawing/2014/main" id="{87007C1F-7EE3-A54F-9479-E2069F7FC6C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395662" y="3536950"/>
            <a:ext cx="2592387" cy="21605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Рисунок</a:t>
            </a:r>
          </a:p>
        </p:txBody>
      </p:sp>
      <p:sp>
        <p:nvSpPr>
          <p:cNvPr id="14" name="Текст 3">
            <a:extLst>
              <a:ext uri="{FF2B5EF4-FFF2-40B4-BE49-F238E27FC236}">
                <a16:creationId xmlns:a16="http://schemas.microsoft.com/office/drawing/2014/main" id="{94D387EE-D6D0-D54C-A856-00C10DE09C0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7375" y="1394405"/>
            <a:ext cx="5400675" cy="171074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5" name="Текст 3">
            <a:extLst>
              <a:ext uri="{FF2B5EF4-FFF2-40B4-BE49-F238E27FC236}">
                <a16:creationId xmlns:a16="http://schemas.microsoft.com/office/drawing/2014/main" id="{7E18B308-E12E-BE47-8CE3-98599071D29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7375" y="4419600"/>
            <a:ext cx="2592388" cy="12779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ru-RU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F516CC6A-4843-A64B-A5A9-A2DC21CF1D1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954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19" name="Рисунок 2">
            <a:extLst>
              <a:ext uri="{FF2B5EF4-FFF2-40B4-BE49-F238E27FC236}">
                <a16:creationId xmlns:a16="http://schemas.microsoft.com/office/drawing/2014/main" id="{FCD972C2-1DE2-358A-B5D7-3768F773AD1F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9013544" y="3536950"/>
            <a:ext cx="2592387" cy="21605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Рисунок</a:t>
            </a:r>
          </a:p>
        </p:txBody>
      </p:sp>
      <p:sp>
        <p:nvSpPr>
          <p:cNvPr id="20" name="Текст 3">
            <a:extLst>
              <a:ext uri="{FF2B5EF4-FFF2-40B4-BE49-F238E27FC236}">
                <a16:creationId xmlns:a16="http://schemas.microsoft.com/office/drawing/2014/main" id="{7A20B9E6-885F-D8C7-F8E1-16669CF8365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05257" y="4419600"/>
            <a:ext cx="2592388" cy="12779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ru-RU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7D0838AE-14ED-4029-2BA5-DE3803366C2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71003" y="3523293"/>
            <a:ext cx="933527" cy="66135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5400" b="1" kern="1200" dirty="0">
                <a:gradFill flip="none" rotWithShape="1">
                  <a:gsLst>
                    <a:gs pos="0">
                      <a:schemeClr val="accent1"/>
                    </a:gs>
                    <a:gs pos="97000">
                      <a:schemeClr val="accent3"/>
                    </a:gs>
                  </a:gsLst>
                  <a:lin ang="16200000" scaled="1"/>
                  <a:tileRect/>
                </a:gra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</a:t>
            </a:r>
            <a:r>
              <a:rPr lang="en-US" dirty="0"/>
              <a:t>2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21F6276A-C0FD-3F1D-41A7-699E644FBD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24658376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id="{F0545DCA-5F07-9B4F-998F-287538094C5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075613" y="1371601"/>
            <a:ext cx="3529012" cy="45418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Рисунок</a:t>
            </a:r>
          </a:p>
        </p:txBody>
      </p:sp>
      <p:sp>
        <p:nvSpPr>
          <p:cNvPr id="8" name="Рисунок 2">
            <a:extLst>
              <a:ext uri="{FF2B5EF4-FFF2-40B4-BE49-F238E27FC236}">
                <a16:creationId xmlns:a16="http://schemas.microsoft.com/office/drawing/2014/main" id="{FCE2A074-D10B-B34E-AE4F-6E7F375A002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87375" y="1371601"/>
            <a:ext cx="7274519" cy="45418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Рисунок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DCD7E764-0771-5E4C-B420-39CB147C84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954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C5616849-10FC-BE00-C9C4-2493FE69FE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30869210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2">
            <a:extLst>
              <a:ext uri="{FF2B5EF4-FFF2-40B4-BE49-F238E27FC236}">
                <a16:creationId xmlns:a16="http://schemas.microsoft.com/office/drawing/2014/main" id="{FCE2A074-D10B-B34E-AE4F-6E7F375A002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87374" y="1371600"/>
            <a:ext cx="3529012" cy="151765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Рисунок</a:t>
            </a:r>
          </a:p>
        </p:txBody>
      </p:sp>
      <p:sp>
        <p:nvSpPr>
          <p:cNvPr id="17" name="Рисунок 2">
            <a:extLst>
              <a:ext uri="{FF2B5EF4-FFF2-40B4-BE49-F238E27FC236}">
                <a16:creationId xmlns:a16="http://schemas.microsoft.com/office/drawing/2014/main" id="{F10FC6B0-D66A-AA4E-8511-7D319BE4BCD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87374" y="3105150"/>
            <a:ext cx="3529013" cy="28082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Рисунок</a:t>
            </a:r>
          </a:p>
        </p:txBody>
      </p:sp>
      <p:sp>
        <p:nvSpPr>
          <p:cNvPr id="18" name="Рисунок 2">
            <a:extLst>
              <a:ext uri="{FF2B5EF4-FFF2-40B4-BE49-F238E27FC236}">
                <a16:creationId xmlns:a16="http://schemas.microsoft.com/office/drawing/2014/main" id="{E6C10113-362B-BB46-8BCF-6D46AF476B3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332288" y="1376362"/>
            <a:ext cx="7272338" cy="28082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Рисунок</a:t>
            </a:r>
          </a:p>
        </p:txBody>
      </p:sp>
      <p:sp>
        <p:nvSpPr>
          <p:cNvPr id="19" name="Рисунок 2">
            <a:extLst>
              <a:ext uri="{FF2B5EF4-FFF2-40B4-BE49-F238E27FC236}">
                <a16:creationId xmlns:a16="http://schemas.microsoft.com/office/drawing/2014/main" id="{487E73DC-4898-2545-8854-F6758CCCBA1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32289" y="4406092"/>
            <a:ext cx="7272338" cy="150734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Рисунок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9E29341E-CF51-3942-A4DF-F7308E85C4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954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3D140E88-C3C9-FCFE-47FA-6EEB082437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31607836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2">
            <a:extLst>
              <a:ext uri="{FF2B5EF4-FFF2-40B4-BE49-F238E27FC236}">
                <a16:creationId xmlns:a16="http://schemas.microsoft.com/office/drawing/2014/main" id="{FCE2A074-D10B-B34E-AE4F-6E7F375A002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87375" y="1371600"/>
            <a:ext cx="3529013" cy="216535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Рисунок</a:t>
            </a:r>
          </a:p>
        </p:txBody>
      </p:sp>
      <p:sp>
        <p:nvSpPr>
          <p:cNvPr id="17" name="Рисунок 2">
            <a:extLst>
              <a:ext uri="{FF2B5EF4-FFF2-40B4-BE49-F238E27FC236}">
                <a16:creationId xmlns:a16="http://schemas.microsoft.com/office/drawing/2014/main" id="{F10FC6B0-D66A-AA4E-8511-7D319BE4BCD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87375" y="3752851"/>
            <a:ext cx="3529013" cy="21605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Рисунок</a:t>
            </a:r>
          </a:p>
        </p:txBody>
      </p:sp>
      <p:sp>
        <p:nvSpPr>
          <p:cNvPr id="16" name="Рисунок 2">
            <a:extLst>
              <a:ext uri="{FF2B5EF4-FFF2-40B4-BE49-F238E27FC236}">
                <a16:creationId xmlns:a16="http://schemas.microsoft.com/office/drawing/2014/main" id="{47B14226-8190-9142-B940-25FA9CBFE7B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075613" y="1371600"/>
            <a:ext cx="3529012" cy="45418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Рисунок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4763725-7A4A-CA4C-B1B8-8FFF6C1BF8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954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11" name="Рисунок 2">
            <a:extLst>
              <a:ext uri="{FF2B5EF4-FFF2-40B4-BE49-F238E27FC236}">
                <a16:creationId xmlns:a16="http://schemas.microsoft.com/office/drawing/2014/main" id="{19E97FC0-8C12-0B96-C461-5B347ED56B2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336063" y="1371600"/>
            <a:ext cx="3529012" cy="45418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Рисунок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4A4EB33C-F04C-0106-4E66-88381CF9A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33569963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2">
            <a:extLst>
              <a:ext uri="{FF2B5EF4-FFF2-40B4-BE49-F238E27FC236}">
                <a16:creationId xmlns:a16="http://schemas.microsoft.com/office/drawing/2014/main" id="{FCE2A074-D10B-B34E-AE4F-6E7F375A002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87374" y="1369245"/>
            <a:ext cx="5400675" cy="41052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Рисунок</a:t>
            </a:r>
          </a:p>
        </p:txBody>
      </p:sp>
      <p:sp>
        <p:nvSpPr>
          <p:cNvPr id="18" name="Рисунок 2">
            <a:extLst>
              <a:ext uri="{FF2B5EF4-FFF2-40B4-BE49-F238E27FC236}">
                <a16:creationId xmlns:a16="http://schemas.microsoft.com/office/drawing/2014/main" id="{E6C10113-362B-BB46-8BCF-6D46AF476B3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03953" y="1369246"/>
            <a:ext cx="2592385" cy="194679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Рисунок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CF3F13AD-91C5-A444-B6D5-A5F8107A13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954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12" name="Рисунок 2">
            <a:extLst>
              <a:ext uri="{FF2B5EF4-FFF2-40B4-BE49-F238E27FC236}">
                <a16:creationId xmlns:a16="http://schemas.microsoft.com/office/drawing/2014/main" id="{32645118-C6AA-0886-8022-EB65E6B4666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012467" y="1369246"/>
            <a:ext cx="2592385" cy="194679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Рисунок</a:t>
            </a:r>
          </a:p>
        </p:txBody>
      </p:sp>
      <p:sp>
        <p:nvSpPr>
          <p:cNvPr id="13" name="Рисунок 2">
            <a:extLst>
              <a:ext uri="{FF2B5EF4-FFF2-40B4-BE49-F238E27FC236}">
                <a16:creationId xmlns:a16="http://schemas.microsoft.com/office/drawing/2014/main" id="{FEC0FFF3-E68D-744A-03C9-4805F649D00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203953" y="3536950"/>
            <a:ext cx="2592385" cy="193757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Рисунок</a:t>
            </a:r>
          </a:p>
        </p:txBody>
      </p:sp>
      <p:sp>
        <p:nvSpPr>
          <p:cNvPr id="14" name="Рисунок 2">
            <a:extLst>
              <a:ext uri="{FF2B5EF4-FFF2-40B4-BE49-F238E27FC236}">
                <a16:creationId xmlns:a16="http://schemas.microsoft.com/office/drawing/2014/main" id="{0E0BD201-898D-9FFC-30D5-C08FD60DAAC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012467" y="3536950"/>
            <a:ext cx="2592385" cy="193757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Рисунок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D8BB40D4-17E0-2691-F002-0FABFBBF05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13790508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Таблица 3">
            <a:extLst>
              <a:ext uri="{FF2B5EF4-FFF2-40B4-BE49-F238E27FC236}">
                <a16:creationId xmlns:a16="http://schemas.microsoft.com/office/drawing/2014/main" id="{EE612392-D34D-834B-82D5-1B7E9E5BC551}"/>
              </a:ext>
            </a:extLst>
          </p:cNvPr>
          <p:cNvSpPr>
            <a:spLocks noGrp="1"/>
          </p:cNvSpPr>
          <p:nvPr>
            <p:ph type="tbl" sz="quarter" idx="33" hasCustomPrompt="1"/>
          </p:nvPr>
        </p:nvSpPr>
        <p:spPr>
          <a:xfrm>
            <a:off x="587375" y="2024063"/>
            <a:ext cx="11017250" cy="41052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Таблица</a:t>
            </a:r>
          </a:p>
        </p:txBody>
      </p:sp>
      <p:sp>
        <p:nvSpPr>
          <p:cNvPr id="10" name="Текст 8">
            <a:extLst>
              <a:ext uri="{FF2B5EF4-FFF2-40B4-BE49-F238E27FC236}">
                <a16:creationId xmlns:a16="http://schemas.microsoft.com/office/drawing/2014/main" id="{481F36FA-98B9-6B4F-A879-3E1A1F666AC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87375" y="1397189"/>
            <a:ext cx="5400675" cy="34485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4509A33-6927-FA4F-A6D0-C6253DF9010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55193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1BDCF03B-DB5A-A7C0-EDB0-733BE2075E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29558981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Диаграмм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719668" y="4690241"/>
            <a:ext cx="5204885" cy="9326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255487" y="4690241"/>
            <a:ext cx="5218965" cy="9326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9" name="Chart Placeholder 4"/>
          <p:cNvSpPr>
            <a:spLocks noGrp="1"/>
          </p:cNvSpPr>
          <p:nvPr>
            <p:ph type="chart" sz="quarter" idx="16"/>
          </p:nvPr>
        </p:nvSpPr>
        <p:spPr>
          <a:xfrm>
            <a:off x="719667" y="1981201"/>
            <a:ext cx="5204884" cy="23764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700"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17"/>
          </p:nvPr>
        </p:nvSpPr>
        <p:spPr>
          <a:xfrm>
            <a:off x="6256856" y="1981201"/>
            <a:ext cx="5217597" cy="23764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700"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719669" y="541338"/>
            <a:ext cx="7423151" cy="459206"/>
          </a:xfrm>
          <a:prstGeom prst="rect">
            <a:avLst/>
          </a:prstGeom>
        </p:spPr>
        <p:txBody>
          <a:bodyPr lIns="0" tIns="0" rIns="0" bIns="0"/>
          <a:lstStyle>
            <a:lvl1pPr>
              <a:defRPr lang="ru-RU" sz="3200" b="1" kern="120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19667" y="6170207"/>
            <a:ext cx="6311900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4" name="Номер слайда 3"/>
          <p:cNvSpPr txBox="1">
            <a:spLocks/>
          </p:cNvSpPr>
          <p:nvPr userDrawn="1"/>
        </p:nvSpPr>
        <p:spPr>
          <a:xfrm>
            <a:off x="10701867" y="6170207"/>
            <a:ext cx="772584" cy="14645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D7563AF-3E27-4699-B4F1-10C22348B958}" type="slidenum">
              <a:rPr lang="ru-RU" sz="70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961215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аблица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8">
            <a:extLst>
              <a:ext uri="{FF2B5EF4-FFF2-40B4-BE49-F238E27FC236}">
                <a16:creationId xmlns:a16="http://schemas.microsoft.com/office/drawing/2014/main" id="{917854BC-0AE4-DD48-B7EB-BA0EF752D70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7375" y="1392572"/>
            <a:ext cx="3529013" cy="4736766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FD2BAC0-7C58-F74A-9ED3-6B4794EBC9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55193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9" name="Таблица 3">
            <a:extLst>
              <a:ext uri="{FF2B5EF4-FFF2-40B4-BE49-F238E27FC236}">
                <a16:creationId xmlns:a16="http://schemas.microsoft.com/office/drawing/2014/main" id="{453479B9-1B06-1B99-EAC3-7C552D7208EC}"/>
              </a:ext>
            </a:extLst>
          </p:cNvPr>
          <p:cNvSpPr>
            <a:spLocks noGrp="1"/>
          </p:cNvSpPr>
          <p:nvPr>
            <p:ph type="tbl" sz="quarter" idx="33" hasCustomPrompt="1"/>
          </p:nvPr>
        </p:nvSpPr>
        <p:spPr>
          <a:xfrm>
            <a:off x="4330936" y="2024063"/>
            <a:ext cx="7273689" cy="41052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Таблица</a:t>
            </a:r>
          </a:p>
        </p:txBody>
      </p:sp>
      <p:sp>
        <p:nvSpPr>
          <p:cNvPr id="12" name="Текст 8">
            <a:extLst>
              <a:ext uri="{FF2B5EF4-FFF2-40B4-BE49-F238E27FC236}">
                <a16:creationId xmlns:a16="http://schemas.microsoft.com/office/drawing/2014/main" id="{598E3F5B-0AA6-B7C9-5943-38A611F39C2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30936" y="1393371"/>
            <a:ext cx="7273689" cy="34485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9A32903D-3B4F-C4F3-E8A5-07BEC5AF67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27986211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таблицы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Текст 8">
            <a:extLst>
              <a:ext uri="{FF2B5EF4-FFF2-40B4-BE49-F238E27FC236}">
                <a16:creationId xmlns:a16="http://schemas.microsoft.com/office/drawing/2014/main" id="{D01ACE80-D8D1-1C4C-A172-51A8A38FD9A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211493" y="4198630"/>
            <a:ext cx="5393134" cy="193070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B54BCE03-A6EF-8D49-A3CE-F7E410D15FB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55193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15" name="Таблица 3">
            <a:extLst>
              <a:ext uri="{FF2B5EF4-FFF2-40B4-BE49-F238E27FC236}">
                <a16:creationId xmlns:a16="http://schemas.microsoft.com/office/drawing/2014/main" id="{6146CD43-73DF-1C82-1311-87092A3381F2}"/>
              </a:ext>
            </a:extLst>
          </p:cNvPr>
          <p:cNvSpPr>
            <a:spLocks noGrp="1"/>
          </p:cNvSpPr>
          <p:nvPr>
            <p:ph type="tbl" sz="quarter" idx="39" hasCustomPrompt="1"/>
          </p:nvPr>
        </p:nvSpPr>
        <p:spPr>
          <a:xfrm>
            <a:off x="6207670" y="2024063"/>
            <a:ext cx="5396956" cy="19446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Таблица</a:t>
            </a:r>
          </a:p>
        </p:txBody>
      </p:sp>
      <p:sp>
        <p:nvSpPr>
          <p:cNvPr id="16" name="Текст 8">
            <a:extLst>
              <a:ext uri="{FF2B5EF4-FFF2-40B4-BE49-F238E27FC236}">
                <a16:creationId xmlns:a16="http://schemas.microsoft.com/office/drawing/2014/main" id="{80B62419-C999-611E-6751-5898680D340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07670" y="1393371"/>
            <a:ext cx="5396956" cy="34485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17" name="Текст 8">
            <a:extLst>
              <a:ext uri="{FF2B5EF4-FFF2-40B4-BE49-F238E27FC236}">
                <a16:creationId xmlns:a16="http://schemas.microsoft.com/office/drawing/2014/main" id="{E72B45DE-F7D7-037E-8C44-2A6072D1471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95925" y="4198630"/>
            <a:ext cx="5393134" cy="193070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20" name="Таблица 3">
            <a:extLst>
              <a:ext uri="{FF2B5EF4-FFF2-40B4-BE49-F238E27FC236}">
                <a16:creationId xmlns:a16="http://schemas.microsoft.com/office/drawing/2014/main" id="{F4B09EBD-E731-B9CC-E6F2-494BE6B6BA30}"/>
              </a:ext>
            </a:extLst>
          </p:cNvPr>
          <p:cNvSpPr>
            <a:spLocks noGrp="1"/>
          </p:cNvSpPr>
          <p:nvPr>
            <p:ph type="tbl" sz="quarter" idx="42" hasCustomPrompt="1"/>
          </p:nvPr>
        </p:nvSpPr>
        <p:spPr>
          <a:xfrm>
            <a:off x="592102" y="2024063"/>
            <a:ext cx="5396956" cy="19446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Таблица</a:t>
            </a:r>
          </a:p>
        </p:txBody>
      </p:sp>
      <p:sp>
        <p:nvSpPr>
          <p:cNvPr id="21" name="Текст 8">
            <a:extLst>
              <a:ext uri="{FF2B5EF4-FFF2-40B4-BE49-F238E27FC236}">
                <a16:creationId xmlns:a16="http://schemas.microsoft.com/office/drawing/2014/main" id="{117290D4-820C-88F5-8D8E-36140563936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92102" y="1393371"/>
            <a:ext cx="5396956" cy="34485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8DBADCCD-F711-1DD5-0F0E-F2E60AFABE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29555979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аблица с пиктограмм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AA00F18-ADFA-8043-ADEA-3AA9955427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55193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13" name="Таблица 3">
            <a:extLst>
              <a:ext uri="{FF2B5EF4-FFF2-40B4-BE49-F238E27FC236}">
                <a16:creationId xmlns:a16="http://schemas.microsoft.com/office/drawing/2014/main" id="{B8C25934-A0CD-CF64-9C81-D49E3E7D002D}"/>
              </a:ext>
            </a:extLst>
          </p:cNvPr>
          <p:cNvSpPr>
            <a:spLocks noGrp="1"/>
          </p:cNvSpPr>
          <p:nvPr>
            <p:ph type="tbl" sz="quarter" idx="33" hasCustomPrompt="1"/>
          </p:nvPr>
        </p:nvSpPr>
        <p:spPr>
          <a:xfrm>
            <a:off x="587375" y="2241550"/>
            <a:ext cx="11017250" cy="38877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Таблица</a:t>
            </a:r>
          </a:p>
        </p:txBody>
      </p:sp>
      <p:sp>
        <p:nvSpPr>
          <p:cNvPr id="15" name="Рисунок 2">
            <a:extLst>
              <a:ext uri="{FF2B5EF4-FFF2-40B4-BE49-F238E27FC236}">
                <a16:creationId xmlns:a16="http://schemas.microsoft.com/office/drawing/2014/main" id="{1A36FC77-9C77-D66D-E345-F69F968DA5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2958304" y="1384200"/>
            <a:ext cx="648000" cy="64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16" name="Рисунок 2">
            <a:extLst>
              <a:ext uri="{FF2B5EF4-FFF2-40B4-BE49-F238E27FC236}">
                <a16:creationId xmlns:a16="http://schemas.microsoft.com/office/drawing/2014/main" id="{9839E6F1-60DC-8BF8-0C34-9CFECD02DDAA}"/>
              </a:ext>
            </a:extLst>
          </p:cNvPr>
          <p:cNvSpPr>
            <a:spLocks noGrp="1" noChangeAspect="1"/>
          </p:cNvSpPr>
          <p:nvPr>
            <p:ph type="pic" sz="quarter" idx="34"/>
          </p:nvPr>
        </p:nvSpPr>
        <p:spPr>
          <a:xfrm>
            <a:off x="4845836" y="1384200"/>
            <a:ext cx="648000" cy="64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17" name="Рисунок 2">
            <a:extLst>
              <a:ext uri="{FF2B5EF4-FFF2-40B4-BE49-F238E27FC236}">
                <a16:creationId xmlns:a16="http://schemas.microsoft.com/office/drawing/2014/main" id="{78F890FB-AA19-7C9F-FB46-43B5C0915C59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6710121" y="1384200"/>
            <a:ext cx="648000" cy="64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18" name="Рисунок 2">
            <a:extLst>
              <a:ext uri="{FF2B5EF4-FFF2-40B4-BE49-F238E27FC236}">
                <a16:creationId xmlns:a16="http://schemas.microsoft.com/office/drawing/2014/main" id="{005484E4-6468-E22B-D622-4092114DC32A}"/>
              </a:ext>
            </a:extLst>
          </p:cNvPr>
          <p:cNvSpPr>
            <a:spLocks noGrp="1" noChangeAspect="1"/>
          </p:cNvSpPr>
          <p:nvPr>
            <p:ph type="pic" sz="quarter" idx="36"/>
          </p:nvPr>
        </p:nvSpPr>
        <p:spPr>
          <a:xfrm>
            <a:off x="8582155" y="1384200"/>
            <a:ext cx="648000" cy="64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19" name="Рисунок 2">
            <a:extLst>
              <a:ext uri="{FF2B5EF4-FFF2-40B4-BE49-F238E27FC236}">
                <a16:creationId xmlns:a16="http://schemas.microsoft.com/office/drawing/2014/main" id="{BE356483-66DA-2D09-E20E-0199D8F6A6B9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10461938" y="1384200"/>
            <a:ext cx="648000" cy="64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B931DD1F-3613-77DB-8BE4-DE2BA8EAE9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40197337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аблица из плашек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Текст 2">
            <a:extLst>
              <a:ext uri="{FF2B5EF4-FFF2-40B4-BE49-F238E27FC236}">
                <a16:creationId xmlns:a16="http://schemas.microsoft.com/office/drawing/2014/main" id="{92A826DF-AE70-4D4A-89B8-071ABC9296C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2463213" y="1813468"/>
            <a:ext cx="1655999" cy="6476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142" name="Текст 2">
            <a:extLst>
              <a:ext uri="{FF2B5EF4-FFF2-40B4-BE49-F238E27FC236}">
                <a16:creationId xmlns:a16="http://schemas.microsoft.com/office/drawing/2014/main" id="{8952BDFC-8B8D-BD4D-B92F-A459B1EFBE4D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587375" y="1808163"/>
            <a:ext cx="1655763" cy="648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3B3493CD-133A-AD40-9BD9-52866808B86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55193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42" name="Текст 2">
            <a:extLst>
              <a:ext uri="{FF2B5EF4-FFF2-40B4-BE49-F238E27FC236}">
                <a16:creationId xmlns:a16="http://schemas.microsoft.com/office/drawing/2014/main" id="{6627B16D-E499-8826-6765-7801C5FCD395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4335213" y="1813468"/>
            <a:ext cx="1655999" cy="6476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43" name="Текст 2">
            <a:extLst>
              <a:ext uri="{FF2B5EF4-FFF2-40B4-BE49-F238E27FC236}">
                <a16:creationId xmlns:a16="http://schemas.microsoft.com/office/drawing/2014/main" id="{CE6EC38F-171E-35C9-1158-97BF690EE341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6207213" y="1813468"/>
            <a:ext cx="1655999" cy="6476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44" name="Текст 2">
            <a:extLst>
              <a:ext uri="{FF2B5EF4-FFF2-40B4-BE49-F238E27FC236}">
                <a16:creationId xmlns:a16="http://schemas.microsoft.com/office/drawing/2014/main" id="{660A2D41-2032-C2F0-8470-3C15F7B23401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8079213" y="1813468"/>
            <a:ext cx="1655999" cy="6476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45" name="Текст 2">
            <a:extLst>
              <a:ext uri="{FF2B5EF4-FFF2-40B4-BE49-F238E27FC236}">
                <a16:creationId xmlns:a16="http://schemas.microsoft.com/office/drawing/2014/main" id="{235CBFA1-EBCD-4365-C27F-59C6D8611CD9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9951213" y="1813468"/>
            <a:ext cx="1655999" cy="6476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46" name="Текст 2">
            <a:extLst>
              <a:ext uri="{FF2B5EF4-FFF2-40B4-BE49-F238E27FC236}">
                <a16:creationId xmlns:a16="http://schemas.microsoft.com/office/drawing/2014/main" id="{E9DB6DEB-10AF-058C-E613-41207C08014E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2463213" y="2670115"/>
            <a:ext cx="1655999" cy="6476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47" name="Текст 2">
            <a:extLst>
              <a:ext uri="{FF2B5EF4-FFF2-40B4-BE49-F238E27FC236}">
                <a16:creationId xmlns:a16="http://schemas.microsoft.com/office/drawing/2014/main" id="{54823B5C-E380-9C7C-2BD2-1CDE4A734788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587375" y="2664810"/>
            <a:ext cx="1655763" cy="648000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8" name="Текст 2">
            <a:extLst>
              <a:ext uri="{FF2B5EF4-FFF2-40B4-BE49-F238E27FC236}">
                <a16:creationId xmlns:a16="http://schemas.microsoft.com/office/drawing/2014/main" id="{16B468E9-B3AF-65AC-E184-186A359AA39C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4335213" y="2670115"/>
            <a:ext cx="1655999" cy="6476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49" name="Текст 2">
            <a:extLst>
              <a:ext uri="{FF2B5EF4-FFF2-40B4-BE49-F238E27FC236}">
                <a16:creationId xmlns:a16="http://schemas.microsoft.com/office/drawing/2014/main" id="{417BF0F2-4D05-10D9-36D6-55F91BE77570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6207213" y="2670115"/>
            <a:ext cx="1655999" cy="6476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50" name="Текст 2">
            <a:extLst>
              <a:ext uri="{FF2B5EF4-FFF2-40B4-BE49-F238E27FC236}">
                <a16:creationId xmlns:a16="http://schemas.microsoft.com/office/drawing/2014/main" id="{7210E3A9-1D94-3F66-CF4F-499A17E7A035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8079213" y="2670115"/>
            <a:ext cx="1655999" cy="6476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51" name="Текст 2">
            <a:extLst>
              <a:ext uri="{FF2B5EF4-FFF2-40B4-BE49-F238E27FC236}">
                <a16:creationId xmlns:a16="http://schemas.microsoft.com/office/drawing/2014/main" id="{D6185A1C-779D-C13F-415F-C17F23736BB1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9951213" y="2670115"/>
            <a:ext cx="1655999" cy="6476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52" name="Текст 2">
            <a:extLst>
              <a:ext uri="{FF2B5EF4-FFF2-40B4-BE49-F238E27FC236}">
                <a16:creationId xmlns:a16="http://schemas.microsoft.com/office/drawing/2014/main" id="{CF54BE5A-B0B6-268A-9AD5-06AC3C987F6E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2463213" y="3541202"/>
            <a:ext cx="1655999" cy="6476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53" name="Текст 2">
            <a:extLst>
              <a:ext uri="{FF2B5EF4-FFF2-40B4-BE49-F238E27FC236}">
                <a16:creationId xmlns:a16="http://schemas.microsoft.com/office/drawing/2014/main" id="{38A6666E-8DC7-5D1E-0619-ABFC6CD4B8FE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587375" y="3535897"/>
            <a:ext cx="1655763" cy="6480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54" name="Текст 2">
            <a:extLst>
              <a:ext uri="{FF2B5EF4-FFF2-40B4-BE49-F238E27FC236}">
                <a16:creationId xmlns:a16="http://schemas.microsoft.com/office/drawing/2014/main" id="{DF3975C9-AB8A-4D87-6AFB-E17C539C62D7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4335213" y="3541202"/>
            <a:ext cx="1655999" cy="6476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55" name="Текст 2">
            <a:extLst>
              <a:ext uri="{FF2B5EF4-FFF2-40B4-BE49-F238E27FC236}">
                <a16:creationId xmlns:a16="http://schemas.microsoft.com/office/drawing/2014/main" id="{B3330345-B846-8D3E-0905-C7D225430D25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6207213" y="3541202"/>
            <a:ext cx="1655999" cy="6476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56" name="Текст 2">
            <a:extLst>
              <a:ext uri="{FF2B5EF4-FFF2-40B4-BE49-F238E27FC236}">
                <a16:creationId xmlns:a16="http://schemas.microsoft.com/office/drawing/2014/main" id="{DF51D282-DC37-BBD3-88CE-C7F0A89366C9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8079213" y="3541202"/>
            <a:ext cx="1655999" cy="6476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57" name="Текст 2">
            <a:extLst>
              <a:ext uri="{FF2B5EF4-FFF2-40B4-BE49-F238E27FC236}">
                <a16:creationId xmlns:a16="http://schemas.microsoft.com/office/drawing/2014/main" id="{838748AB-25A6-B602-1444-C45548D75F0E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9951213" y="3541202"/>
            <a:ext cx="1655999" cy="6476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58" name="Текст 2">
            <a:extLst>
              <a:ext uri="{FF2B5EF4-FFF2-40B4-BE49-F238E27FC236}">
                <a16:creationId xmlns:a16="http://schemas.microsoft.com/office/drawing/2014/main" id="{5F396E8B-9AE9-65E6-BE2F-5CD8F0B6A0C1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2463213" y="4397850"/>
            <a:ext cx="1655999" cy="6476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59" name="Текст 2">
            <a:extLst>
              <a:ext uri="{FF2B5EF4-FFF2-40B4-BE49-F238E27FC236}">
                <a16:creationId xmlns:a16="http://schemas.microsoft.com/office/drawing/2014/main" id="{8C839A02-22CD-DE36-2AA8-89C58E525BC2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587375" y="4392545"/>
            <a:ext cx="1655763" cy="648000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60" name="Текст 2">
            <a:extLst>
              <a:ext uri="{FF2B5EF4-FFF2-40B4-BE49-F238E27FC236}">
                <a16:creationId xmlns:a16="http://schemas.microsoft.com/office/drawing/2014/main" id="{7C64B169-6E80-943F-34C3-A7AB41D377C9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4335213" y="4397850"/>
            <a:ext cx="1655999" cy="6476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61" name="Текст 2">
            <a:extLst>
              <a:ext uri="{FF2B5EF4-FFF2-40B4-BE49-F238E27FC236}">
                <a16:creationId xmlns:a16="http://schemas.microsoft.com/office/drawing/2014/main" id="{B56A20B1-789B-CDDB-3ECB-7548991822D8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6207213" y="4397850"/>
            <a:ext cx="1655999" cy="6476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62" name="Текст 2">
            <a:extLst>
              <a:ext uri="{FF2B5EF4-FFF2-40B4-BE49-F238E27FC236}">
                <a16:creationId xmlns:a16="http://schemas.microsoft.com/office/drawing/2014/main" id="{71E9F4B0-DE89-80E5-9543-8D0BC0B06929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8079213" y="4397850"/>
            <a:ext cx="1655999" cy="6476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63" name="Текст 2">
            <a:extLst>
              <a:ext uri="{FF2B5EF4-FFF2-40B4-BE49-F238E27FC236}">
                <a16:creationId xmlns:a16="http://schemas.microsoft.com/office/drawing/2014/main" id="{CE999482-E148-008F-CA1F-B07CCF0C654F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9951213" y="4397850"/>
            <a:ext cx="1655999" cy="6476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64" name="Текст 2">
            <a:extLst>
              <a:ext uri="{FF2B5EF4-FFF2-40B4-BE49-F238E27FC236}">
                <a16:creationId xmlns:a16="http://schemas.microsoft.com/office/drawing/2014/main" id="{F205D062-3A47-5845-D054-4EBCA8D342A5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2463213" y="5268938"/>
            <a:ext cx="1655999" cy="6476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65" name="Текст 2">
            <a:extLst>
              <a:ext uri="{FF2B5EF4-FFF2-40B4-BE49-F238E27FC236}">
                <a16:creationId xmlns:a16="http://schemas.microsoft.com/office/drawing/2014/main" id="{AB89FF3B-E85A-3E05-4EB5-487AAE80EF3F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587375" y="5263633"/>
            <a:ext cx="1655763" cy="648000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66" name="Текст 2">
            <a:extLst>
              <a:ext uri="{FF2B5EF4-FFF2-40B4-BE49-F238E27FC236}">
                <a16:creationId xmlns:a16="http://schemas.microsoft.com/office/drawing/2014/main" id="{A1A88CC5-486B-272D-4316-298C4552D496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4335213" y="5268938"/>
            <a:ext cx="1655999" cy="6476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67" name="Текст 2">
            <a:extLst>
              <a:ext uri="{FF2B5EF4-FFF2-40B4-BE49-F238E27FC236}">
                <a16:creationId xmlns:a16="http://schemas.microsoft.com/office/drawing/2014/main" id="{58609AE6-EDFA-37C4-9468-18D642C14325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6207213" y="5268938"/>
            <a:ext cx="1655999" cy="6476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68" name="Текст 2">
            <a:extLst>
              <a:ext uri="{FF2B5EF4-FFF2-40B4-BE49-F238E27FC236}">
                <a16:creationId xmlns:a16="http://schemas.microsoft.com/office/drawing/2014/main" id="{1965F356-4823-594F-C724-D65F7CE32292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8079213" y="5268938"/>
            <a:ext cx="1655999" cy="6476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69" name="Текст 2">
            <a:extLst>
              <a:ext uri="{FF2B5EF4-FFF2-40B4-BE49-F238E27FC236}">
                <a16:creationId xmlns:a16="http://schemas.microsoft.com/office/drawing/2014/main" id="{86D1007D-DE8A-6213-7ED9-FF8B4D1733CC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9951213" y="5268938"/>
            <a:ext cx="1655999" cy="6476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57119E6A-A115-1058-7744-55B5156F01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539883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аблица из плашек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Текст 2">
            <a:extLst>
              <a:ext uri="{FF2B5EF4-FFF2-40B4-BE49-F238E27FC236}">
                <a16:creationId xmlns:a16="http://schemas.microsoft.com/office/drawing/2014/main" id="{8CC0802F-A693-EA7E-4932-A94ED7B7B896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844819" y="1592262"/>
            <a:ext cx="3271569" cy="649288"/>
          </a:xfrm>
          <a:prstGeom prst="rect">
            <a:avLst/>
          </a:prstGeom>
          <a:solidFill>
            <a:schemeClr val="accent2"/>
          </a:solidFill>
        </p:spPr>
        <p:txBody>
          <a:bodyPr lIns="684000" tIns="0" rIns="0" b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28" name="Рисунок 2">
            <a:extLst>
              <a:ext uri="{FF2B5EF4-FFF2-40B4-BE49-F238E27FC236}">
                <a16:creationId xmlns:a16="http://schemas.microsoft.com/office/drawing/2014/main" id="{C7CA6135-B67E-FC0A-E453-6C5701F51662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587375" y="1556906"/>
            <a:ext cx="720725" cy="7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30" name="Текст 2">
            <a:extLst>
              <a:ext uri="{FF2B5EF4-FFF2-40B4-BE49-F238E27FC236}">
                <a16:creationId xmlns:a16="http://schemas.microsoft.com/office/drawing/2014/main" id="{82C59479-BA62-18E8-B956-E91A3781176A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9948862" y="1592263"/>
            <a:ext cx="1653787" cy="6492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ru-RU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35" name="Текст 2">
            <a:extLst>
              <a:ext uri="{FF2B5EF4-FFF2-40B4-BE49-F238E27FC236}">
                <a16:creationId xmlns:a16="http://schemas.microsoft.com/office/drawing/2014/main" id="{4EEA9A5B-B966-7B64-BB01-64F82BF2113D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844819" y="2457636"/>
            <a:ext cx="3271569" cy="64928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lIns="684000" tIns="0" rIns="0" b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38" name="Текст 2">
            <a:extLst>
              <a:ext uri="{FF2B5EF4-FFF2-40B4-BE49-F238E27FC236}">
                <a16:creationId xmlns:a16="http://schemas.microsoft.com/office/drawing/2014/main" id="{C99DCF64-8484-7AF2-AB5B-998703610DC3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9948862" y="2457637"/>
            <a:ext cx="1653787" cy="6492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ru-RU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39" name="Текст 2">
            <a:extLst>
              <a:ext uri="{FF2B5EF4-FFF2-40B4-BE49-F238E27FC236}">
                <a16:creationId xmlns:a16="http://schemas.microsoft.com/office/drawing/2014/main" id="{28297D09-C7A9-888F-2FF4-267EE03D333B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844819" y="3321604"/>
            <a:ext cx="3271569" cy="649288"/>
          </a:xfrm>
          <a:prstGeom prst="rect">
            <a:avLst/>
          </a:prstGeom>
          <a:solidFill>
            <a:schemeClr val="accent3"/>
          </a:solidFill>
        </p:spPr>
        <p:txBody>
          <a:bodyPr lIns="684000" tIns="0" rIns="0" b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2" name="Текст 2">
            <a:extLst>
              <a:ext uri="{FF2B5EF4-FFF2-40B4-BE49-F238E27FC236}">
                <a16:creationId xmlns:a16="http://schemas.microsoft.com/office/drawing/2014/main" id="{F443B9E2-8B0C-3ED8-30EE-676E3528BC54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9948862" y="3321605"/>
            <a:ext cx="1653787" cy="6492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ru-RU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70" name="Text Placeholder 7">
            <a:extLst>
              <a:ext uri="{FF2B5EF4-FFF2-40B4-BE49-F238E27FC236}">
                <a16:creationId xmlns:a16="http://schemas.microsoft.com/office/drawing/2014/main" id="{16D288A2-7682-6A13-80E9-BC31C59DBBB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55193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136" name="Текст 2">
            <a:extLst>
              <a:ext uri="{FF2B5EF4-FFF2-40B4-BE49-F238E27FC236}">
                <a16:creationId xmlns:a16="http://schemas.microsoft.com/office/drawing/2014/main" id="{522076BC-0DAB-A709-808B-9F12E261D9AF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8088164" y="1592263"/>
            <a:ext cx="1653787" cy="6492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ru-RU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137" name="Текст 2">
            <a:extLst>
              <a:ext uri="{FF2B5EF4-FFF2-40B4-BE49-F238E27FC236}">
                <a16:creationId xmlns:a16="http://schemas.microsoft.com/office/drawing/2014/main" id="{2FBC5784-B234-E4A8-534D-762F000142FA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8088164" y="2457637"/>
            <a:ext cx="1653787" cy="6492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ru-RU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138" name="Текст 2">
            <a:extLst>
              <a:ext uri="{FF2B5EF4-FFF2-40B4-BE49-F238E27FC236}">
                <a16:creationId xmlns:a16="http://schemas.microsoft.com/office/drawing/2014/main" id="{C4EBB39D-BF25-519B-1DF2-C0407C72F92F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8088164" y="3321605"/>
            <a:ext cx="1653787" cy="6492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ru-RU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139" name="Текст 2">
            <a:extLst>
              <a:ext uri="{FF2B5EF4-FFF2-40B4-BE49-F238E27FC236}">
                <a16:creationId xmlns:a16="http://schemas.microsoft.com/office/drawing/2014/main" id="{A660D909-E29C-AC02-7C3D-5B487097CED9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6206201" y="1592263"/>
            <a:ext cx="1653787" cy="6492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ru-RU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140" name="Текст 2">
            <a:extLst>
              <a:ext uri="{FF2B5EF4-FFF2-40B4-BE49-F238E27FC236}">
                <a16:creationId xmlns:a16="http://schemas.microsoft.com/office/drawing/2014/main" id="{006FE63B-00BB-A17F-94D9-3A8F6013FFC2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6206201" y="2457637"/>
            <a:ext cx="1653787" cy="6492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ru-RU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141" name="Текст 2">
            <a:extLst>
              <a:ext uri="{FF2B5EF4-FFF2-40B4-BE49-F238E27FC236}">
                <a16:creationId xmlns:a16="http://schemas.microsoft.com/office/drawing/2014/main" id="{5C037B08-E98B-9CBF-9641-5B3EE39C6A23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6206201" y="3321605"/>
            <a:ext cx="1653787" cy="6492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ru-RU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142" name="Текст 2">
            <a:extLst>
              <a:ext uri="{FF2B5EF4-FFF2-40B4-BE49-F238E27FC236}">
                <a16:creationId xmlns:a16="http://schemas.microsoft.com/office/drawing/2014/main" id="{C0EFA73D-EB76-6376-2A6A-4A4852D88750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4345504" y="1592263"/>
            <a:ext cx="1653787" cy="6492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43" name="Текст 2">
            <a:extLst>
              <a:ext uri="{FF2B5EF4-FFF2-40B4-BE49-F238E27FC236}">
                <a16:creationId xmlns:a16="http://schemas.microsoft.com/office/drawing/2014/main" id="{1EE84634-1129-2A7F-1EA4-A2B4759D7EE4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4345504" y="2457637"/>
            <a:ext cx="1653787" cy="6492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ru-RU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144" name="Текст 2">
            <a:extLst>
              <a:ext uri="{FF2B5EF4-FFF2-40B4-BE49-F238E27FC236}">
                <a16:creationId xmlns:a16="http://schemas.microsoft.com/office/drawing/2014/main" id="{A5F76797-8D70-7699-7E7D-D396A6435E68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4345504" y="3321605"/>
            <a:ext cx="1653787" cy="6492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 b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ru-RU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151" name="Text Placeholder 7">
            <a:extLst>
              <a:ext uri="{FF2B5EF4-FFF2-40B4-BE49-F238E27FC236}">
                <a16:creationId xmlns:a16="http://schemas.microsoft.com/office/drawing/2014/main" id="{EB1A7F6A-337F-8D64-0D10-4CF27FC81AE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7550" y="4641226"/>
            <a:ext cx="5390500" cy="6297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52" name="Text Placeholder 7">
            <a:extLst>
              <a:ext uri="{FF2B5EF4-FFF2-40B4-BE49-F238E27FC236}">
                <a16:creationId xmlns:a16="http://schemas.microsoft.com/office/drawing/2014/main" id="{377BFA82-CCA9-D7BE-8C81-C75F16D8D3B8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597550" y="5510230"/>
            <a:ext cx="5390500" cy="6297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53" name="Text Placeholder 7">
            <a:extLst>
              <a:ext uri="{FF2B5EF4-FFF2-40B4-BE49-F238E27FC236}">
                <a16:creationId xmlns:a16="http://schemas.microsoft.com/office/drawing/2014/main" id="{FD2C3A82-2FF0-15DC-011F-9B83967CEE23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6212287" y="4641226"/>
            <a:ext cx="5390500" cy="6297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54" name="Text Placeholder 7">
            <a:extLst>
              <a:ext uri="{FF2B5EF4-FFF2-40B4-BE49-F238E27FC236}">
                <a16:creationId xmlns:a16="http://schemas.microsoft.com/office/drawing/2014/main" id="{41711CBB-A071-828A-D610-422DC5EA3B88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6212287" y="5510230"/>
            <a:ext cx="5390500" cy="6297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24" name="Рисунок 2">
            <a:extLst>
              <a:ext uri="{FF2B5EF4-FFF2-40B4-BE49-F238E27FC236}">
                <a16:creationId xmlns:a16="http://schemas.microsoft.com/office/drawing/2014/main" id="{61487AA4-C482-133E-239D-46C953E05D85}"/>
              </a:ext>
            </a:extLst>
          </p:cNvPr>
          <p:cNvSpPr>
            <a:spLocks noGrp="1" noChangeAspect="1"/>
          </p:cNvSpPr>
          <p:nvPr>
            <p:ph type="pic" sz="quarter" idx="105"/>
          </p:nvPr>
        </p:nvSpPr>
        <p:spPr>
          <a:xfrm>
            <a:off x="587375" y="2430965"/>
            <a:ext cx="720725" cy="7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25" name="Рисунок 2">
            <a:extLst>
              <a:ext uri="{FF2B5EF4-FFF2-40B4-BE49-F238E27FC236}">
                <a16:creationId xmlns:a16="http://schemas.microsoft.com/office/drawing/2014/main" id="{9AB0AA4B-2727-F157-03E2-DA109237C076}"/>
              </a:ext>
            </a:extLst>
          </p:cNvPr>
          <p:cNvSpPr>
            <a:spLocks noGrp="1" noChangeAspect="1"/>
          </p:cNvSpPr>
          <p:nvPr>
            <p:ph type="pic" sz="quarter" idx="106"/>
          </p:nvPr>
        </p:nvSpPr>
        <p:spPr>
          <a:xfrm>
            <a:off x="587375" y="3291577"/>
            <a:ext cx="720725" cy="7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807768BC-1D28-CD47-0D93-06BB345B67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27248128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иаграмма 2">
            <a:extLst>
              <a:ext uri="{FF2B5EF4-FFF2-40B4-BE49-F238E27FC236}">
                <a16:creationId xmlns:a16="http://schemas.microsoft.com/office/drawing/2014/main" id="{809D8C6F-5207-4C4E-AAA9-BE80067AE9FD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587375" y="2024063"/>
            <a:ext cx="11017250" cy="4105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Диаграмма</a:t>
            </a:r>
          </a:p>
        </p:txBody>
      </p:sp>
      <p:sp>
        <p:nvSpPr>
          <p:cNvPr id="8" name="Текст 8">
            <a:extLst>
              <a:ext uri="{FF2B5EF4-FFF2-40B4-BE49-F238E27FC236}">
                <a16:creationId xmlns:a16="http://schemas.microsoft.com/office/drawing/2014/main" id="{6FF68EE2-6704-5345-9A3B-E83BE5C8067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86889" y="1400996"/>
            <a:ext cx="5414414" cy="44176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953CD32-3F4C-C430-A832-F29FE5AE03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836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8FFD71-FBF1-24DD-40DC-2A92BAFBC0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31427278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Текст 8">
            <a:extLst>
              <a:ext uri="{FF2B5EF4-FFF2-40B4-BE49-F238E27FC236}">
                <a16:creationId xmlns:a16="http://schemas.microsoft.com/office/drawing/2014/main" id="{8F043A65-E06E-CF4E-ADF6-48C8A1BE547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7375" y="1423414"/>
            <a:ext cx="3529013" cy="470592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1" name="Диаграмма 2">
            <a:extLst>
              <a:ext uri="{FF2B5EF4-FFF2-40B4-BE49-F238E27FC236}">
                <a16:creationId xmlns:a16="http://schemas.microsoft.com/office/drawing/2014/main" id="{DF18C037-F222-356C-6915-C1BCF9FFA06C}"/>
              </a:ext>
            </a:extLst>
          </p:cNvPr>
          <p:cNvSpPr>
            <a:spLocks noGrp="1"/>
          </p:cNvSpPr>
          <p:nvPr>
            <p:ph type="chart" sz="quarter" idx="27" hasCustomPrompt="1"/>
          </p:nvPr>
        </p:nvSpPr>
        <p:spPr>
          <a:xfrm>
            <a:off x="4346026" y="2024063"/>
            <a:ext cx="7258599" cy="4105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Диаграмма</a:t>
            </a:r>
          </a:p>
        </p:txBody>
      </p:sp>
      <p:sp>
        <p:nvSpPr>
          <p:cNvPr id="13" name="Текст 8">
            <a:extLst>
              <a:ext uri="{FF2B5EF4-FFF2-40B4-BE49-F238E27FC236}">
                <a16:creationId xmlns:a16="http://schemas.microsoft.com/office/drawing/2014/main" id="{95D5C5CA-E356-A83A-D04F-5D754E8C4A5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20858" y="1398768"/>
            <a:ext cx="7272337" cy="44176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8D75477E-5E9C-A152-A41A-843CF6C8213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836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FF015C41-BC62-73F9-39B9-61B55E5F96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36006689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диаграммы с пиктограмм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Диаграмма 2">
            <a:extLst>
              <a:ext uri="{FF2B5EF4-FFF2-40B4-BE49-F238E27FC236}">
                <a16:creationId xmlns:a16="http://schemas.microsoft.com/office/drawing/2014/main" id="{2CC7908E-72CA-325D-DFB0-C1B4C3A87387}"/>
              </a:ext>
            </a:extLst>
          </p:cNvPr>
          <p:cNvSpPr>
            <a:spLocks noGrp="1"/>
          </p:cNvSpPr>
          <p:nvPr>
            <p:ph type="chart" sz="quarter" idx="64" hasCustomPrompt="1"/>
          </p:nvPr>
        </p:nvSpPr>
        <p:spPr>
          <a:xfrm>
            <a:off x="1529397" y="3119361"/>
            <a:ext cx="4458651" cy="25781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Диаграмма</a:t>
            </a:r>
          </a:p>
        </p:txBody>
      </p:sp>
      <p:sp>
        <p:nvSpPr>
          <p:cNvPr id="60" name="Рисунок 2">
            <a:extLst>
              <a:ext uri="{FF2B5EF4-FFF2-40B4-BE49-F238E27FC236}">
                <a16:creationId xmlns:a16="http://schemas.microsoft.com/office/drawing/2014/main" id="{90DEEFFD-F12C-8B21-F3F1-9186523CC5ED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587375" y="1990533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61" name="Текст 8">
            <a:extLst>
              <a:ext uri="{FF2B5EF4-FFF2-40B4-BE49-F238E27FC236}">
                <a16:creationId xmlns:a16="http://schemas.microsoft.com/office/drawing/2014/main" id="{CAADB8FC-7894-0975-E0BD-0FAE2BBB386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87375" y="1172439"/>
            <a:ext cx="5400675" cy="41076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63" name="Текст 8">
            <a:extLst>
              <a:ext uri="{FF2B5EF4-FFF2-40B4-BE49-F238E27FC236}">
                <a16:creationId xmlns:a16="http://schemas.microsoft.com/office/drawing/2014/main" id="{46D2D75E-C286-5588-FAC3-C5167782E260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1523999" y="2043056"/>
            <a:ext cx="4464050" cy="35211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64" name="Текст 8">
            <a:extLst>
              <a:ext uri="{FF2B5EF4-FFF2-40B4-BE49-F238E27FC236}">
                <a16:creationId xmlns:a16="http://schemas.microsoft.com/office/drawing/2014/main" id="{7492F500-18C3-48AE-9FCC-FE4BE2DF83A9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1524000" y="2398713"/>
            <a:ext cx="4464050" cy="48629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70" name="Диаграмма 2">
            <a:extLst>
              <a:ext uri="{FF2B5EF4-FFF2-40B4-BE49-F238E27FC236}">
                <a16:creationId xmlns:a16="http://schemas.microsoft.com/office/drawing/2014/main" id="{28A22825-02DA-F55E-6F36-DFCCC345872B}"/>
              </a:ext>
            </a:extLst>
          </p:cNvPr>
          <p:cNvSpPr>
            <a:spLocks noGrp="1"/>
          </p:cNvSpPr>
          <p:nvPr>
            <p:ph type="chart" sz="quarter" idx="76" hasCustomPrompt="1"/>
          </p:nvPr>
        </p:nvSpPr>
        <p:spPr>
          <a:xfrm>
            <a:off x="7146426" y="3119361"/>
            <a:ext cx="4458651" cy="25781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Диаграмма</a:t>
            </a:r>
          </a:p>
        </p:txBody>
      </p:sp>
      <p:sp>
        <p:nvSpPr>
          <p:cNvPr id="76" name="Рисунок 2">
            <a:extLst>
              <a:ext uri="{FF2B5EF4-FFF2-40B4-BE49-F238E27FC236}">
                <a16:creationId xmlns:a16="http://schemas.microsoft.com/office/drawing/2014/main" id="{EE37B49B-A65F-A9DF-E70F-C35B2CB92F62}"/>
              </a:ext>
            </a:extLst>
          </p:cNvPr>
          <p:cNvSpPr>
            <a:spLocks noGrp="1"/>
          </p:cNvSpPr>
          <p:nvPr>
            <p:ph type="pic" sz="quarter" idx="82"/>
          </p:nvPr>
        </p:nvSpPr>
        <p:spPr>
          <a:xfrm>
            <a:off x="6204404" y="1990533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77" name="Текст 8">
            <a:extLst>
              <a:ext uri="{FF2B5EF4-FFF2-40B4-BE49-F238E27FC236}">
                <a16:creationId xmlns:a16="http://schemas.microsoft.com/office/drawing/2014/main" id="{9E37E241-FACF-28C6-BB03-EF475D29A886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7141028" y="2043056"/>
            <a:ext cx="4464050" cy="35211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78" name="Текст 8">
            <a:extLst>
              <a:ext uri="{FF2B5EF4-FFF2-40B4-BE49-F238E27FC236}">
                <a16:creationId xmlns:a16="http://schemas.microsoft.com/office/drawing/2014/main" id="{D8D5472A-C5E4-9AE2-9852-891C2822E262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7141029" y="2398713"/>
            <a:ext cx="4464050" cy="48629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79" name="Text Placeholder 7">
            <a:extLst>
              <a:ext uri="{FF2B5EF4-FFF2-40B4-BE49-F238E27FC236}">
                <a16:creationId xmlns:a16="http://schemas.microsoft.com/office/drawing/2014/main" id="{4A43EEB6-AED7-F9FB-84E0-6472185671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836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F90E8E6F-C5C5-5EBF-8844-8BA00F1E6A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26356081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Диаграмма 2">
            <a:extLst>
              <a:ext uri="{FF2B5EF4-FFF2-40B4-BE49-F238E27FC236}">
                <a16:creationId xmlns:a16="http://schemas.microsoft.com/office/drawing/2014/main" id="{9A58534E-C314-1FA7-4015-EA8E9679ECB2}"/>
              </a:ext>
            </a:extLst>
          </p:cNvPr>
          <p:cNvSpPr>
            <a:spLocks noGrp="1"/>
          </p:cNvSpPr>
          <p:nvPr>
            <p:ph type="chart" sz="quarter" idx="27" hasCustomPrompt="1"/>
          </p:nvPr>
        </p:nvSpPr>
        <p:spPr>
          <a:xfrm>
            <a:off x="6203949" y="2024454"/>
            <a:ext cx="5400675" cy="19442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Диаграмма</a:t>
            </a:r>
          </a:p>
        </p:txBody>
      </p:sp>
      <p:sp>
        <p:nvSpPr>
          <p:cNvPr id="29" name="Текст 8">
            <a:extLst>
              <a:ext uri="{FF2B5EF4-FFF2-40B4-BE49-F238E27FC236}">
                <a16:creationId xmlns:a16="http://schemas.microsoft.com/office/drawing/2014/main" id="{58378611-9CD2-91CB-E9CE-1EF69896F18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02751" y="4205141"/>
            <a:ext cx="5401873" cy="170829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lang="ru-RU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31" name="Текст 8">
            <a:extLst>
              <a:ext uri="{FF2B5EF4-FFF2-40B4-BE49-F238E27FC236}">
                <a16:creationId xmlns:a16="http://schemas.microsoft.com/office/drawing/2014/main" id="{2B45FBFB-E7A6-7924-D8ED-6CD6C6EFDDFB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195562" y="1399774"/>
            <a:ext cx="5400675" cy="34914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32" name="Диаграмма 2">
            <a:extLst>
              <a:ext uri="{FF2B5EF4-FFF2-40B4-BE49-F238E27FC236}">
                <a16:creationId xmlns:a16="http://schemas.microsoft.com/office/drawing/2014/main" id="{52C87DFB-EB14-0FA1-C31E-2020DA80C135}"/>
              </a:ext>
            </a:extLst>
          </p:cNvPr>
          <p:cNvSpPr>
            <a:spLocks noGrp="1"/>
          </p:cNvSpPr>
          <p:nvPr>
            <p:ph type="chart" sz="quarter" idx="74" hasCustomPrompt="1"/>
          </p:nvPr>
        </p:nvSpPr>
        <p:spPr>
          <a:xfrm>
            <a:off x="587273" y="2024454"/>
            <a:ext cx="5400675" cy="19442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Диаграмма</a:t>
            </a:r>
          </a:p>
        </p:txBody>
      </p:sp>
      <p:sp>
        <p:nvSpPr>
          <p:cNvPr id="33" name="Текст 8">
            <a:extLst>
              <a:ext uri="{FF2B5EF4-FFF2-40B4-BE49-F238E27FC236}">
                <a16:creationId xmlns:a16="http://schemas.microsoft.com/office/drawing/2014/main" id="{3ED00A07-616F-7650-FA31-5ED57881CE05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586075" y="4205141"/>
            <a:ext cx="5401873" cy="170829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lang="ru-RU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34" name="Текст 8">
            <a:extLst>
              <a:ext uri="{FF2B5EF4-FFF2-40B4-BE49-F238E27FC236}">
                <a16:creationId xmlns:a16="http://schemas.microsoft.com/office/drawing/2014/main" id="{74AEC244-9CAB-A55A-A650-B8499F6D21E5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578886" y="1399774"/>
            <a:ext cx="5400675" cy="34914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AD33F044-47CC-0ACE-1FFB-E13D15476E1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836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A00F9994-8E94-8CFD-89D7-049354D4A8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17164771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Диаграмма 2">
            <a:extLst>
              <a:ext uri="{FF2B5EF4-FFF2-40B4-BE49-F238E27FC236}">
                <a16:creationId xmlns:a16="http://schemas.microsoft.com/office/drawing/2014/main" id="{9332A1FC-438B-5CCB-DEEC-12D324ADFD20}"/>
              </a:ext>
            </a:extLst>
          </p:cNvPr>
          <p:cNvSpPr>
            <a:spLocks noGrp="1"/>
          </p:cNvSpPr>
          <p:nvPr>
            <p:ph type="chart" sz="quarter" idx="74" hasCustomPrompt="1"/>
          </p:nvPr>
        </p:nvSpPr>
        <p:spPr>
          <a:xfrm>
            <a:off x="587273" y="2024454"/>
            <a:ext cx="3529115" cy="19442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Диаграмма</a:t>
            </a:r>
          </a:p>
        </p:txBody>
      </p:sp>
      <p:sp>
        <p:nvSpPr>
          <p:cNvPr id="33" name="Текст 8">
            <a:extLst>
              <a:ext uri="{FF2B5EF4-FFF2-40B4-BE49-F238E27FC236}">
                <a16:creationId xmlns:a16="http://schemas.microsoft.com/office/drawing/2014/main" id="{34B5ABD6-CCA8-4F5F-B564-4FDC109D4955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586076" y="4205141"/>
            <a:ext cx="3529898" cy="170829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lang="ru-RU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34" name="Текст 8">
            <a:extLst>
              <a:ext uri="{FF2B5EF4-FFF2-40B4-BE49-F238E27FC236}">
                <a16:creationId xmlns:a16="http://schemas.microsoft.com/office/drawing/2014/main" id="{6285FE3F-FE7A-DC59-ECD9-1B8F691D3BC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578886" y="1399774"/>
            <a:ext cx="3529115" cy="34914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35" name="Диаграмма 2">
            <a:extLst>
              <a:ext uri="{FF2B5EF4-FFF2-40B4-BE49-F238E27FC236}">
                <a16:creationId xmlns:a16="http://schemas.microsoft.com/office/drawing/2014/main" id="{A56546FC-3F83-BB32-5EEA-218E63B99A4D}"/>
              </a:ext>
            </a:extLst>
          </p:cNvPr>
          <p:cNvSpPr>
            <a:spLocks noGrp="1"/>
          </p:cNvSpPr>
          <p:nvPr>
            <p:ph type="chart" sz="quarter" idx="77" hasCustomPrompt="1"/>
          </p:nvPr>
        </p:nvSpPr>
        <p:spPr>
          <a:xfrm>
            <a:off x="4340789" y="2024454"/>
            <a:ext cx="3529115" cy="19442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Диаграмма</a:t>
            </a:r>
          </a:p>
        </p:txBody>
      </p:sp>
      <p:sp>
        <p:nvSpPr>
          <p:cNvPr id="36" name="Текст 8">
            <a:extLst>
              <a:ext uri="{FF2B5EF4-FFF2-40B4-BE49-F238E27FC236}">
                <a16:creationId xmlns:a16="http://schemas.microsoft.com/office/drawing/2014/main" id="{382FD87C-871F-9876-3854-F0EFB5AD4695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4339592" y="4205141"/>
            <a:ext cx="3529898" cy="170829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lang="ru-RU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37" name="Текст 8">
            <a:extLst>
              <a:ext uri="{FF2B5EF4-FFF2-40B4-BE49-F238E27FC236}">
                <a16:creationId xmlns:a16="http://schemas.microsoft.com/office/drawing/2014/main" id="{73AD3830-B48C-CA0E-1E8C-EE4AE6102860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4332402" y="1399774"/>
            <a:ext cx="3529115" cy="34914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38" name="Диаграмма 2">
            <a:extLst>
              <a:ext uri="{FF2B5EF4-FFF2-40B4-BE49-F238E27FC236}">
                <a16:creationId xmlns:a16="http://schemas.microsoft.com/office/drawing/2014/main" id="{6EFDFC72-5780-F368-E590-660A0EE23846}"/>
              </a:ext>
            </a:extLst>
          </p:cNvPr>
          <p:cNvSpPr>
            <a:spLocks noGrp="1"/>
          </p:cNvSpPr>
          <p:nvPr>
            <p:ph type="chart" sz="quarter" idx="80" hasCustomPrompt="1"/>
          </p:nvPr>
        </p:nvSpPr>
        <p:spPr>
          <a:xfrm>
            <a:off x="8081516" y="2024454"/>
            <a:ext cx="3529115" cy="19442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Диаграмма</a:t>
            </a:r>
          </a:p>
        </p:txBody>
      </p:sp>
      <p:sp>
        <p:nvSpPr>
          <p:cNvPr id="39" name="Текст 8">
            <a:extLst>
              <a:ext uri="{FF2B5EF4-FFF2-40B4-BE49-F238E27FC236}">
                <a16:creationId xmlns:a16="http://schemas.microsoft.com/office/drawing/2014/main" id="{E8664960-5641-BEED-4F9F-BC6ED60E882B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8080319" y="4205141"/>
            <a:ext cx="3529898" cy="170829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lang="ru-RU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40" name="Текст 8">
            <a:extLst>
              <a:ext uri="{FF2B5EF4-FFF2-40B4-BE49-F238E27FC236}">
                <a16:creationId xmlns:a16="http://schemas.microsoft.com/office/drawing/2014/main" id="{A4B19F3D-F3D1-598F-C7EF-A4E53A5D9F34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8073129" y="1399774"/>
            <a:ext cx="3529115" cy="34914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61CF785E-7369-6A9F-8EF2-9D40D6CE99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836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B4BCD9A1-DCDF-5577-B801-0931D59399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26030596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_ДСП/КТ_белая те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6">
            <a:extLst>
              <a:ext uri="{FF2B5EF4-FFF2-40B4-BE49-F238E27FC236}">
                <a16:creationId xmlns:a16="http://schemas.microsoft.com/office/drawing/2014/main" id="{44DB20A7-36CB-40C1-CDD4-55FF888F13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70452"/>
          </a:xfrm>
          <a:prstGeom prst="rect">
            <a:avLst/>
          </a:prstGeom>
        </p:spPr>
      </p:pic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AFF86ED-ACCF-1BD7-C54B-491C604CAF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36154" y="560564"/>
            <a:ext cx="3899288" cy="508953"/>
          </a:xfrm>
          <a:prstGeom prst="rect">
            <a:avLst/>
          </a:prstGeom>
        </p:spPr>
        <p:txBody>
          <a:bodyPr lIns="36000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3200" b="1" kern="1200" dirty="0">
                <a:solidFill>
                  <a:schemeClr val="tx1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r>
              <a:rPr lang="ru-RU" dirty="0"/>
              <a:t>ДСП / КТ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198A1A7-7C5B-E2A1-7CA8-B033E25EAB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36153" y="1088187"/>
            <a:ext cx="3899288" cy="225817"/>
          </a:xfrm>
          <a:prstGeom prst="rect">
            <a:avLst/>
          </a:prstGeom>
        </p:spPr>
        <p:txBody>
          <a:bodyPr lIns="36000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b="0" kern="1200" dirty="0">
                <a:solidFill>
                  <a:schemeClr val="tx1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r>
              <a:rPr lang="ru-RU" dirty="0"/>
              <a:t>Экз.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6A0082EC-FCCC-3385-3004-5B0CD2C40D1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 bwMode="auto">
          <a:xfrm>
            <a:off x="592043" y="513483"/>
            <a:ext cx="2875931" cy="864000"/>
          </a:xfrm>
          <a:prstGeom prst="rect">
            <a:avLst/>
          </a:prstGeom>
        </p:spPr>
      </p:pic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2EAD080-F1ED-F41F-DA94-A04C359258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0563" y="5070502"/>
            <a:ext cx="8205775" cy="2734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kern="1200" dirty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r>
              <a:rPr lang="ru-RU" dirty="0"/>
              <a:t>Наименование мероприятия / название площадки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1B18AAB-8642-F822-4257-D11F8CF48C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4" y="1376363"/>
            <a:ext cx="8216901" cy="3673475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100000"/>
              </a:lnSpc>
              <a:defRPr lang="en-US" sz="4200" b="1" kern="1200" baseline="0" dirty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r>
              <a:rPr lang="ru-RU" dirty="0"/>
              <a:t>Тема презентации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5B8FA58-A8F3-60F3-D3EB-D2EA8480D4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526907"/>
            <a:ext cx="6337300" cy="2734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600" b="1" kern="1200" dirty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r>
              <a:rPr lang="ru-RU" dirty="0"/>
              <a:t>ФИО</a:t>
            </a:r>
            <a:endParaRPr lang="en-US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A409C9B-5A84-18DE-18BD-53E442D8A6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6" y="5693589"/>
            <a:ext cx="6337300" cy="27349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kern="1200" dirty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r>
              <a:rPr lang="ru-RU" dirty="0"/>
              <a:t>Должность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BABBDE1-15CE-411F-472A-3EC48AF8D1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6" y="6149263"/>
            <a:ext cx="5400674" cy="2516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1" kern="1200" dirty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r>
              <a:rPr lang="ru-RU" dirty="0"/>
              <a:t>00.00.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6660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5" orient="horz" pos="777" userDrawn="1">
          <p15:clr>
            <a:srgbClr val="FBAE40"/>
          </p15:clr>
        </p15:guide>
        <p15:guide id="16" orient="horz" pos="414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 с пиктограмм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8">
            <a:extLst>
              <a:ext uri="{FF2B5EF4-FFF2-40B4-BE49-F238E27FC236}">
                <a16:creationId xmlns:a16="http://schemas.microsoft.com/office/drawing/2014/main" id="{361E8B1C-5F24-22C2-0755-E87E7BAB88D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75613" y="3128286"/>
            <a:ext cx="3529012" cy="37578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18" name="Текст 8">
            <a:extLst>
              <a:ext uri="{FF2B5EF4-FFF2-40B4-BE49-F238E27FC236}">
                <a16:creationId xmlns:a16="http://schemas.microsoft.com/office/drawing/2014/main" id="{735A998D-7BEE-2DB2-6DD7-BE6C514B3DA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075613" y="3390157"/>
            <a:ext cx="3522288" cy="79449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lang="ru-RU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19" name="Диаграмма 2">
            <a:extLst>
              <a:ext uri="{FF2B5EF4-FFF2-40B4-BE49-F238E27FC236}">
                <a16:creationId xmlns:a16="http://schemas.microsoft.com/office/drawing/2014/main" id="{010826C6-418F-5486-1558-EB4D73A9E6DF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594099" y="1371600"/>
            <a:ext cx="6325439" cy="43259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Диаграмма</a:t>
            </a:r>
          </a:p>
        </p:txBody>
      </p:sp>
      <p:sp>
        <p:nvSpPr>
          <p:cNvPr id="20" name="Рисунок 2">
            <a:extLst>
              <a:ext uri="{FF2B5EF4-FFF2-40B4-BE49-F238E27FC236}">
                <a16:creationId xmlns:a16="http://schemas.microsoft.com/office/drawing/2014/main" id="{CD2DE2FF-FA9E-3FF8-4DEC-FE9BC43077F8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140575" y="2968412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22" name="Текст 8">
            <a:extLst>
              <a:ext uri="{FF2B5EF4-FFF2-40B4-BE49-F238E27FC236}">
                <a16:creationId xmlns:a16="http://schemas.microsoft.com/office/drawing/2014/main" id="{5DA37A12-25D4-89DF-B8FE-E2723A7343A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075613" y="4649029"/>
            <a:ext cx="3522288" cy="37578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23" name="Текст 8">
            <a:extLst>
              <a:ext uri="{FF2B5EF4-FFF2-40B4-BE49-F238E27FC236}">
                <a16:creationId xmlns:a16="http://schemas.microsoft.com/office/drawing/2014/main" id="{D2F10D28-B921-5D12-A4F3-8B447A8BC6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82337" y="4904479"/>
            <a:ext cx="3522288" cy="7930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lang="ru-RU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24" name="Рисунок 2">
            <a:extLst>
              <a:ext uri="{FF2B5EF4-FFF2-40B4-BE49-F238E27FC236}">
                <a16:creationId xmlns:a16="http://schemas.microsoft.com/office/drawing/2014/main" id="{899AAA23-8B6A-AE98-AFA8-8657B73513BE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7140575" y="4477195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25" name="Текст 8">
            <a:extLst>
              <a:ext uri="{FF2B5EF4-FFF2-40B4-BE49-F238E27FC236}">
                <a16:creationId xmlns:a16="http://schemas.microsoft.com/office/drawing/2014/main" id="{D971748B-143D-FC11-746C-8D2B7700F17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68889" y="1618376"/>
            <a:ext cx="3529012" cy="37578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26" name="Текст 8">
            <a:extLst>
              <a:ext uri="{FF2B5EF4-FFF2-40B4-BE49-F238E27FC236}">
                <a16:creationId xmlns:a16="http://schemas.microsoft.com/office/drawing/2014/main" id="{51C23F95-6DAA-CEFF-1BFE-68BA2F34E89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075613" y="1878477"/>
            <a:ext cx="3522288" cy="8053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27" name="Рисунок 2">
            <a:extLst>
              <a:ext uri="{FF2B5EF4-FFF2-40B4-BE49-F238E27FC236}">
                <a16:creationId xmlns:a16="http://schemas.microsoft.com/office/drawing/2014/main" id="{14153949-A940-F401-42E1-5E17FBEF17B9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140575" y="1453943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FEE0F6EF-481C-3DF1-E7AB-3CB5167F60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836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017DF6F2-2ACB-C9DB-F74E-FADE69DDA6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36714374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Диаграмма 2">
            <a:extLst>
              <a:ext uri="{FF2B5EF4-FFF2-40B4-BE49-F238E27FC236}">
                <a16:creationId xmlns:a16="http://schemas.microsoft.com/office/drawing/2014/main" id="{57B68743-E6AE-9D3B-C7AA-179C221A2F92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592575" y="1380392"/>
            <a:ext cx="2587187" cy="2156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Диаграмма</a:t>
            </a:r>
          </a:p>
        </p:txBody>
      </p:sp>
      <p:sp>
        <p:nvSpPr>
          <p:cNvPr id="24" name="Текст 8">
            <a:extLst>
              <a:ext uri="{FF2B5EF4-FFF2-40B4-BE49-F238E27FC236}">
                <a16:creationId xmlns:a16="http://schemas.microsoft.com/office/drawing/2014/main" id="{341D78EC-B87B-4E69-5E12-F599E1BBBE9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92576" y="3563720"/>
            <a:ext cx="2587187" cy="3679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25" name="Текст 8">
            <a:extLst>
              <a:ext uri="{FF2B5EF4-FFF2-40B4-BE49-F238E27FC236}">
                <a16:creationId xmlns:a16="http://schemas.microsoft.com/office/drawing/2014/main" id="{9DD28759-927A-43E9-22D4-40BAD7E2F8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1369" y="4223604"/>
            <a:ext cx="2587187" cy="1689833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26" name="Текст 8">
            <a:extLst>
              <a:ext uri="{FF2B5EF4-FFF2-40B4-BE49-F238E27FC236}">
                <a16:creationId xmlns:a16="http://schemas.microsoft.com/office/drawing/2014/main" id="{5A0CD014-AA12-816E-B9E7-302DF8C1CD3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08100" y="2032367"/>
            <a:ext cx="1150938" cy="8568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23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53" name="Диаграмма 2">
            <a:extLst>
              <a:ext uri="{FF2B5EF4-FFF2-40B4-BE49-F238E27FC236}">
                <a16:creationId xmlns:a16="http://schemas.microsoft.com/office/drawing/2014/main" id="{95D96B23-963C-A94A-E4CF-4BD9AEA79191}"/>
              </a:ext>
            </a:extLst>
          </p:cNvPr>
          <p:cNvSpPr>
            <a:spLocks noGrp="1"/>
          </p:cNvSpPr>
          <p:nvPr>
            <p:ph type="chart" sz="quarter" idx="29" hasCustomPrompt="1"/>
          </p:nvPr>
        </p:nvSpPr>
        <p:spPr>
          <a:xfrm>
            <a:off x="3388529" y="1380392"/>
            <a:ext cx="2587187" cy="2156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Диаграмма</a:t>
            </a:r>
          </a:p>
        </p:txBody>
      </p:sp>
      <p:sp>
        <p:nvSpPr>
          <p:cNvPr id="54" name="Текст 8">
            <a:extLst>
              <a:ext uri="{FF2B5EF4-FFF2-40B4-BE49-F238E27FC236}">
                <a16:creationId xmlns:a16="http://schemas.microsoft.com/office/drawing/2014/main" id="{A81B57DC-8DF2-88E4-6F3E-D22360D2466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388530" y="3563720"/>
            <a:ext cx="2587187" cy="3679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55" name="Текст 8">
            <a:extLst>
              <a:ext uri="{FF2B5EF4-FFF2-40B4-BE49-F238E27FC236}">
                <a16:creationId xmlns:a16="http://schemas.microsoft.com/office/drawing/2014/main" id="{22D4CF54-DE0A-1343-BEE3-64830699EF0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97323" y="4223604"/>
            <a:ext cx="2587187" cy="1689833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56" name="Текст 8">
            <a:extLst>
              <a:ext uri="{FF2B5EF4-FFF2-40B4-BE49-F238E27FC236}">
                <a16:creationId xmlns:a16="http://schemas.microsoft.com/office/drawing/2014/main" id="{F0360C00-C096-5FEB-57BB-C6B074580D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104054" y="2032367"/>
            <a:ext cx="1150938" cy="8568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23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57" name="Диаграмма 2">
            <a:extLst>
              <a:ext uri="{FF2B5EF4-FFF2-40B4-BE49-F238E27FC236}">
                <a16:creationId xmlns:a16="http://schemas.microsoft.com/office/drawing/2014/main" id="{0E2FDAD5-7E26-6D32-C090-1042B2104958}"/>
              </a:ext>
            </a:extLst>
          </p:cNvPr>
          <p:cNvSpPr>
            <a:spLocks noGrp="1"/>
          </p:cNvSpPr>
          <p:nvPr>
            <p:ph type="chart" sz="quarter" idx="33" hasCustomPrompt="1"/>
          </p:nvPr>
        </p:nvSpPr>
        <p:spPr>
          <a:xfrm>
            <a:off x="6202067" y="1380392"/>
            <a:ext cx="2587187" cy="2156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Диаграмма</a:t>
            </a:r>
          </a:p>
        </p:txBody>
      </p:sp>
      <p:sp>
        <p:nvSpPr>
          <p:cNvPr id="58" name="Текст 8">
            <a:extLst>
              <a:ext uri="{FF2B5EF4-FFF2-40B4-BE49-F238E27FC236}">
                <a16:creationId xmlns:a16="http://schemas.microsoft.com/office/drawing/2014/main" id="{542C9E5C-3CAF-0246-E9ED-AF6DEC95E47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02068" y="3563720"/>
            <a:ext cx="2587187" cy="3679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59" name="Текст 8">
            <a:extLst>
              <a:ext uri="{FF2B5EF4-FFF2-40B4-BE49-F238E27FC236}">
                <a16:creationId xmlns:a16="http://schemas.microsoft.com/office/drawing/2014/main" id="{6926E50E-059F-0CBA-C4A2-76FB00302FB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10861" y="4223604"/>
            <a:ext cx="2587187" cy="1689833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60" name="Текст 8">
            <a:extLst>
              <a:ext uri="{FF2B5EF4-FFF2-40B4-BE49-F238E27FC236}">
                <a16:creationId xmlns:a16="http://schemas.microsoft.com/office/drawing/2014/main" id="{880D56F8-61E9-D298-0A0F-5FF2B53EB46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917592" y="2032367"/>
            <a:ext cx="1150938" cy="8568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23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61" name="Диаграмма 2">
            <a:extLst>
              <a:ext uri="{FF2B5EF4-FFF2-40B4-BE49-F238E27FC236}">
                <a16:creationId xmlns:a16="http://schemas.microsoft.com/office/drawing/2014/main" id="{844FA2ED-0CAA-DCD2-F4BE-89906341EF85}"/>
              </a:ext>
            </a:extLst>
          </p:cNvPr>
          <p:cNvSpPr>
            <a:spLocks noGrp="1"/>
          </p:cNvSpPr>
          <p:nvPr>
            <p:ph type="chart" sz="quarter" idx="37" hasCustomPrompt="1"/>
          </p:nvPr>
        </p:nvSpPr>
        <p:spPr>
          <a:xfrm>
            <a:off x="9006814" y="1380392"/>
            <a:ext cx="2587187" cy="2156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Диаграмма</a:t>
            </a:r>
          </a:p>
        </p:txBody>
      </p:sp>
      <p:sp>
        <p:nvSpPr>
          <p:cNvPr id="62" name="Текст 8">
            <a:extLst>
              <a:ext uri="{FF2B5EF4-FFF2-40B4-BE49-F238E27FC236}">
                <a16:creationId xmlns:a16="http://schemas.microsoft.com/office/drawing/2014/main" id="{D977FD7C-D62F-6E2C-487B-80FB79CC2B40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006815" y="3563720"/>
            <a:ext cx="2587187" cy="3679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63" name="Текст 8">
            <a:extLst>
              <a:ext uri="{FF2B5EF4-FFF2-40B4-BE49-F238E27FC236}">
                <a16:creationId xmlns:a16="http://schemas.microsoft.com/office/drawing/2014/main" id="{BFC4A27A-DFD3-F34F-44F7-F3C9A782520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5608" y="4223604"/>
            <a:ext cx="2587187" cy="1689833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64" name="Текст 8">
            <a:extLst>
              <a:ext uri="{FF2B5EF4-FFF2-40B4-BE49-F238E27FC236}">
                <a16:creationId xmlns:a16="http://schemas.microsoft.com/office/drawing/2014/main" id="{3322B2BC-4150-57A7-7B78-9ABDBAE8DFB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722339" y="2032367"/>
            <a:ext cx="1150938" cy="85688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23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65" name="Text Placeholder 7">
            <a:extLst>
              <a:ext uri="{FF2B5EF4-FFF2-40B4-BE49-F238E27FC236}">
                <a16:creationId xmlns:a16="http://schemas.microsoft.com/office/drawing/2014/main" id="{30F58DDF-DA98-3B76-2D8F-492DFA0B539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836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BE8113AA-8B9F-B0A2-8391-0499AADE59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13196218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нфографика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C1A74DE7-66D3-9D13-23F1-3F95AE3E02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836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2" name="Текст 8">
            <a:extLst>
              <a:ext uri="{FF2B5EF4-FFF2-40B4-BE49-F238E27FC236}">
                <a16:creationId xmlns:a16="http://schemas.microsoft.com/office/drawing/2014/main" id="{A751483A-CBFC-1471-6059-C28B12C519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24000" y="3346978"/>
            <a:ext cx="2593909" cy="411983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4" name="Текст 8">
            <a:extLst>
              <a:ext uri="{FF2B5EF4-FFF2-40B4-BE49-F238E27FC236}">
                <a16:creationId xmlns:a16="http://schemas.microsoft.com/office/drawing/2014/main" id="{12BE87CD-09EA-71E4-F27C-27497C4AE0A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23999" y="3704493"/>
            <a:ext cx="2596517" cy="70817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5" name="Рисунок 2">
            <a:extLst>
              <a:ext uri="{FF2B5EF4-FFF2-40B4-BE49-F238E27FC236}">
                <a16:creationId xmlns:a16="http://schemas.microsoft.com/office/drawing/2014/main" id="{2B13301D-7980-BB73-62C7-A75032CEB9B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41783" y="2100969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6" name="Текст 8">
            <a:extLst>
              <a:ext uri="{FF2B5EF4-FFF2-40B4-BE49-F238E27FC236}">
                <a16:creationId xmlns:a16="http://schemas.microsoft.com/office/drawing/2014/main" id="{A60CB49F-68DF-651A-25A9-6CFE3BF5A09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51425" y="1185399"/>
            <a:ext cx="2089151" cy="30777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7" name="Текст 8">
            <a:extLst>
              <a:ext uri="{FF2B5EF4-FFF2-40B4-BE49-F238E27FC236}">
                <a16:creationId xmlns:a16="http://schemas.microsoft.com/office/drawing/2014/main" id="{25F96440-C181-5B97-19A3-DE53AD27E54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51424" y="1526533"/>
            <a:ext cx="2089151" cy="60082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8" name="Текст 8">
            <a:extLst>
              <a:ext uri="{FF2B5EF4-FFF2-40B4-BE49-F238E27FC236}">
                <a16:creationId xmlns:a16="http://schemas.microsoft.com/office/drawing/2014/main" id="{5993560F-B791-4778-CE9B-635EB17D8DC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68940" y="3340273"/>
            <a:ext cx="2599060" cy="41868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9" name="Текст 8">
            <a:extLst>
              <a:ext uri="{FF2B5EF4-FFF2-40B4-BE49-F238E27FC236}">
                <a16:creationId xmlns:a16="http://schemas.microsoft.com/office/drawing/2014/main" id="{91AA2DDE-BB4C-FC2C-80A6-2B510B047E0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074092" y="3696873"/>
            <a:ext cx="2593908" cy="708176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0" name="Рисунок 2">
            <a:extLst>
              <a:ext uri="{FF2B5EF4-FFF2-40B4-BE49-F238E27FC236}">
                <a16:creationId xmlns:a16="http://schemas.microsoft.com/office/drawing/2014/main" id="{198D474A-0297-E804-8B31-3B0311D245F1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5741783" y="4479213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11" name="Рисунок 2">
            <a:extLst>
              <a:ext uri="{FF2B5EF4-FFF2-40B4-BE49-F238E27FC236}">
                <a16:creationId xmlns:a16="http://schemas.microsoft.com/office/drawing/2014/main" id="{0A1927F5-AFA7-C68D-8C9C-1D0FEC68A696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932218" y="3284962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12" name="Рисунок 2">
            <a:extLst>
              <a:ext uri="{FF2B5EF4-FFF2-40B4-BE49-F238E27FC236}">
                <a16:creationId xmlns:a16="http://schemas.microsoft.com/office/drawing/2014/main" id="{BCE77F93-468A-9B8F-231A-ADEC58C2BB6A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539058" y="3279193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13" name="Текст 8">
            <a:extLst>
              <a:ext uri="{FF2B5EF4-FFF2-40B4-BE49-F238E27FC236}">
                <a16:creationId xmlns:a16="http://schemas.microsoft.com/office/drawing/2014/main" id="{07BF09E1-7D2A-791B-A093-01777398A1B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051424" y="5399515"/>
            <a:ext cx="2089152" cy="30777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14" name="Текст 8">
            <a:extLst>
              <a:ext uri="{FF2B5EF4-FFF2-40B4-BE49-F238E27FC236}">
                <a16:creationId xmlns:a16="http://schemas.microsoft.com/office/drawing/2014/main" id="{09CB00EE-03C8-FCA6-4846-ADE12464DAC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051425" y="5769914"/>
            <a:ext cx="2089150" cy="580272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pic>
        <p:nvPicPr>
          <p:cNvPr id="15" name="Graphic 29">
            <a:extLst>
              <a:ext uri="{FF2B5EF4-FFF2-40B4-BE49-F238E27FC236}">
                <a16:creationId xmlns:a16="http://schemas.microsoft.com/office/drawing/2014/main" id="{87BF587D-B304-6ED2-E9D3-489E1D636EF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5574629" y="3128029"/>
            <a:ext cx="1042743" cy="1042739"/>
          </a:xfrm>
          <a:prstGeom prst="rect">
            <a:avLst/>
          </a:prstGeom>
        </p:spPr>
      </p:pic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204081FF-BC33-C068-A0C4-7CBBD8000F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12675419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нфографика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6D4C9CAC-0BE2-48FF-0C30-CA5BC2499CB2}"/>
              </a:ext>
            </a:extLst>
          </p:cNvPr>
          <p:cNvGrpSpPr/>
          <p:nvPr userDrawn="1"/>
        </p:nvGrpSpPr>
        <p:grpSpPr>
          <a:xfrm>
            <a:off x="4811040" y="2216848"/>
            <a:ext cx="2569920" cy="2424304"/>
            <a:chOff x="4704759" y="2373874"/>
            <a:chExt cx="2569920" cy="2424304"/>
          </a:xfrm>
        </p:grpSpPr>
        <p:sp>
          <p:nvSpPr>
            <p:cNvPr id="28" name="Овал 85">
              <a:extLst>
                <a:ext uri="{FF2B5EF4-FFF2-40B4-BE49-F238E27FC236}">
                  <a16:creationId xmlns:a16="http://schemas.microsoft.com/office/drawing/2014/main" id="{8057332D-4CDF-69AE-BA17-BEFAE4AFAE41}"/>
                </a:ext>
              </a:extLst>
            </p:cNvPr>
            <p:cNvSpPr/>
            <p:nvPr userDrawn="1"/>
          </p:nvSpPr>
          <p:spPr>
            <a:xfrm rot="2700000">
              <a:off x="5205552" y="2803533"/>
              <a:ext cx="1564995" cy="1564993"/>
            </a:xfrm>
            <a:prstGeom prst="ellipse">
              <a:avLst/>
            </a:prstGeom>
            <a:noFill/>
            <a:ln w="12700">
              <a:noFill/>
            </a:ln>
          </p:spPr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ru-RU" sz="1050" b="0" i="0" u="none" strike="noStrike" kern="0" cap="none" spc="0" normalizeH="0" baseline="0" noProof="0">
                <a:ln>
                  <a:noFill/>
                </a:ln>
                <a:solidFill>
                  <a:srgbClr val="2D3540"/>
                </a:solidFill>
                <a:effectLst/>
                <a:uLnTx/>
                <a:uFillTx/>
                <a:ea typeface="+mn-ea"/>
                <a:cs typeface="Arial"/>
                <a:sym typeface="Arial"/>
              </a:endParaRPr>
            </a:p>
          </p:txBody>
        </p:sp>
        <p:grpSp>
          <p:nvGrpSpPr>
            <p:cNvPr id="30" name="Группа 29">
              <a:extLst>
                <a:ext uri="{FF2B5EF4-FFF2-40B4-BE49-F238E27FC236}">
                  <a16:creationId xmlns:a16="http://schemas.microsoft.com/office/drawing/2014/main" id="{F5C559F7-6BA8-8B0E-9169-5EA02438468A}"/>
                </a:ext>
              </a:extLst>
            </p:cNvPr>
            <p:cNvGrpSpPr/>
            <p:nvPr userDrawn="1"/>
          </p:nvGrpSpPr>
          <p:grpSpPr>
            <a:xfrm>
              <a:off x="4775900" y="2373874"/>
              <a:ext cx="2424304" cy="2424304"/>
              <a:chOff x="3359850" y="2578112"/>
              <a:chExt cx="2424304" cy="2424304"/>
            </a:xfrm>
          </p:grpSpPr>
          <p:sp>
            <p:nvSpPr>
              <p:cNvPr id="31" name="Овал 66">
                <a:extLst>
                  <a:ext uri="{FF2B5EF4-FFF2-40B4-BE49-F238E27FC236}">
                    <a16:creationId xmlns:a16="http://schemas.microsoft.com/office/drawing/2014/main" id="{0496C0BB-E96C-FA9F-DA09-DB7D7BE2661F}"/>
                  </a:ext>
                </a:extLst>
              </p:cNvPr>
              <p:cNvSpPr/>
              <p:nvPr/>
            </p:nvSpPr>
            <p:spPr>
              <a:xfrm rot="2700000">
                <a:off x="3359850" y="2578112"/>
                <a:ext cx="2424304" cy="2424304"/>
              </a:xfrm>
              <a:prstGeom prst="ellipse">
                <a:avLst/>
              </a:prstGeom>
              <a:noFill/>
              <a:ln w="19050">
                <a:solidFill>
                  <a:srgbClr val="7F7F7F"/>
                </a:solidFill>
                <a:prstDash val="solid"/>
              </a:ln>
            </p:spPr>
            <p:txBody>
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685766">
                  <a:buClr>
                    <a:srgbClr val="000000"/>
                  </a:buClr>
                </a:pPr>
                <a:endParaRPr lang="ru-RU" sz="1050" kern="0">
                  <a:solidFill>
                    <a:srgbClr val="2D3540"/>
                  </a:solidFill>
                  <a:cs typeface="Arial"/>
                  <a:sym typeface="Arial"/>
                </a:endParaRPr>
              </a:p>
            </p:txBody>
          </p:sp>
          <p:pic>
            <p:nvPicPr>
              <p:cNvPr id="32" name="Graphic 29">
                <a:extLst>
                  <a:ext uri="{FF2B5EF4-FFF2-40B4-BE49-F238E27FC236}">
                    <a16:creationId xmlns:a16="http://schemas.microsoft.com/office/drawing/2014/main" id="{970BA807-EFAA-36D9-4A91-D04018DFC10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xmlns="" r:embed="rId3"/>
                  </a:ext>
                </a:extLst>
              </a:blip>
              <a:stretch>
                <a:fillRect/>
              </a:stretch>
            </p:blipFill>
            <p:spPr>
              <a:xfrm>
                <a:off x="3708983" y="2927249"/>
                <a:ext cx="1726038" cy="1726030"/>
              </a:xfrm>
              <a:prstGeom prst="rect">
                <a:avLst/>
              </a:prstGeom>
            </p:spPr>
          </p:pic>
        </p:grpSp>
        <p:sp>
          <p:nvSpPr>
            <p:cNvPr id="33" name="Овал 59">
              <a:extLst>
                <a:ext uri="{FF2B5EF4-FFF2-40B4-BE49-F238E27FC236}">
                  <a16:creationId xmlns:a16="http://schemas.microsoft.com/office/drawing/2014/main" id="{C1931F1C-53F1-5349-1A9F-FCF4DFA821D4}"/>
                </a:ext>
              </a:extLst>
            </p:cNvPr>
            <p:cNvSpPr/>
            <p:nvPr userDrawn="1"/>
          </p:nvSpPr>
          <p:spPr>
            <a:xfrm flipH="1">
              <a:off x="5182279" y="2520211"/>
              <a:ext cx="162000" cy="162000"/>
            </a:xfrm>
            <a:prstGeom prst="ellipse">
              <a:avLst/>
            </a:prstGeom>
            <a:solidFill>
              <a:schemeClr val="accent2"/>
            </a:solidFill>
            <a:ln w="28575">
              <a:solidFill>
                <a:schemeClr val="bg1"/>
              </a:solidFill>
            </a:ln>
          </p:spPr>
          <p:txBody>
            <a:bodyPr rot="0" spcFirstLastPara="0" vertOverflow="overflow" horzOverflow="overflow" vert="horz" wrap="square" lIns="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Овал 59">
              <a:extLst>
                <a:ext uri="{FF2B5EF4-FFF2-40B4-BE49-F238E27FC236}">
                  <a16:creationId xmlns:a16="http://schemas.microsoft.com/office/drawing/2014/main" id="{3ED90245-1A44-B07D-B3B9-1445DC39228A}"/>
                </a:ext>
              </a:extLst>
            </p:cNvPr>
            <p:cNvSpPr/>
            <p:nvPr userDrawn="1"/>
          </p:nvSpPr>
          <p:spPr>
            <a:xfrm flipH="1">
              <a:off x="6594519" y="2520211"/>
              <a:ext cx="162000" cy="162000"/>
            </a:xfrm>
            <a:prstGeom prst="ellipse">
              <a:avLst/>
            </a:prstGeom>
            <a:solidFill>
              <a:schemeClr val="accent2"/>
            </a:solidFill>
            <a:ln w="28575">
              <a:solidFill>
                <a:schemeClr val="bg1"/>
              </a:solidFill>
            </a:ln>
          </p:spPr>
          <p:txBody>
            <a:bodyPr rot="0" spcFirstLastPara="0" vertOverflow="overflow" horzOverflow="overflow" vert="horz" wrap="square" lIns="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Овал 59">
              <a:extLst>
                <a:ext uri="{FF2B5EF4-FFF2-40B4-BE49-F238E27FC236}">
                  <a16:creationId xmlns:a16="http://schemas.microsoft.com/office/drawing/2014/main" id="{EF057496-85CD-F79D-8A8C-55C43D9C1EE2}"/>
                </a:ext>
              </a:extLst>
            </p:cNvPr>
            <p:cNvSpPr/>
            <p:nvPr userDrawn="1"/>
          </p:nvSpPr>
          <p:spPr>
            <a:xfrm flipH="1">
              <a:off x="5182279" y="4481091"/>
              <a:ext cx="162000" cy="162000"/>
            </a:xfrm>
            <a:prstGeom prst="ellipse">
              <a:avLst/>
            </a:prstGeom>
            <a:solidFill>
              <a:schemeClr val="accent2"/>
            </a:solidFill>
            <a:ln w="28575">
              <a:solidFill>
                <a:schemeClr val="bg1"/>
              </a:solidFill>
            </a:ln>
          </p:spPr>
          <p:txBody>
            <a:bodyPr rot="0" spcFirstLastPara="0" vertOverflow="overflow" horzOverflow="overflow" vert="horz" wrap="square" lIns="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Овал 59">
              <a:extLst>
                <a:ext uri="{FF2B5EF4-FFF2-40B4-BE49-F238E27FC236}">
                  <a16:creationId xmlns:a16="http://schemas.microsoft.com/office/drawing/2014/main" id="{04414D03-FB02-8164-F5FD-BC1683FB4D24}"/>
                </a:ext>
              </a:extLst>
            </p:cNvPr>
            <p:cNvSpPr/>
            <p:nvPr userDrawn="1"/>
          </p:nvSpPr>
          <p:spPr>
            <a:xfrm flipH="1">
              <a:off x="6594519" y="4481091"/>
              <a:ext cx="162000" cy="162000"/>
            </a:xfrm>
            <a:prstGeom prst="ellipse">
              <a:avLst/>
            </a:prstGeom>
            <a:solidFill>
              <a:schemeClr val="accent2"/>
            </a:solidFill>
            <a:ln w="28575">
              <a:solidFill>
                <a:schemeClr val="bg1"/>
              </a:solidFill>
            </a:ln>
          </p:spPr>
          <p:txBody>
            <a:bodyPr rot="0" spcFirstLastPara="0" vertOverflow="overflow" horzOverflow="overflow" vert="horz" wrap="square" lIns="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Овал 59">
              <a:extLst>
                <a:ext uri="{FF2B5EF4-FFF2-40B4-BE49-F238E27FC236}">
                  <a16:creationId xmlns:a16="http://schemas.microsoft.com/office/drawing/2014/main" id="{4F9D7161-4430-B884-4468-EFBA1A4D297E}"/>
                </a:ext>
              </a:extLst>
            </p:cNvPr>
            <p:cNvSpPr/>
            <p:nvPr userDrawn="1"/>
          </p:nvSpPr>
          <p:spPr>
            <a:xfrm flipH="1">
              <a:off x="4704759" y="3434611"/>
              <a:ext cx="162000" cy="162000"/>
            </a:xfrm>
            <a:prstGeom prst="ellipse">
              <a:avLst/>
            </a:prstGeom>
            <a:solidFill>
              <a:schemeClr val="accent2"/>
            </a:solidFill>
            <a:ln w="28575">
              <a:solidFill>
                <a:schemeClr val="bg1"/>
              </a:solidFill>
            </a:ln>
          </p:spPr>
          <p:txBody>
            <a:bodyPr rot="0" spcFirstLastPara="0" vertOverflow="overflow" horzOverflow="overflow" vert="horz" wrap="square" lIns="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Овал 59">
              <a:extLst>
                <a:ext uri="{FF2B5EF4-FFF2-40B4-BE49-F238E27FC236}">
                  <a16:creationId xmlns:a16="http://schemas.microsoft.com/office/drawing/2014/main" id="{15FFEBA1-E1E7-E2DB-9F54-DF075BE9D247}"/>
                </a:ext>
              </a:extLst>
            </p:cNvPr>
            <p:cNvSpPr/>
            <p:nvPr userDrawn="1"/>
          </p:nvSpPr>
          <p:spPr>
            <a:xfrm flipH="1">
              <a:off x="7112679" y="3434611"/>
              <a:ext cx="162000" cy="162000"/>
            </a:xfrm>
            <a:prstGeom prst="ellipse">
              <a:avLst/>
            </a:prstGeom>
            <a:solidFill>
              <a:schemeClr val="accent2"/>
            </a:solidFill>
            <a:ln w="28575">
              <a:solidFill>
                <a:schemeClr val="bg1"/>
              </a:solidFill>
            </a:ln>
          </p:spPr>
          <p:txBody>
            <a:bodyPr rot="0" spcFirstLastPara="0" vertOverflow="overflow" horzOverflow="overflow" vert="horz" wrap="square" lIns="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0" name="Текст 8">
            <a:extLst>
              <a:ext uri="{FF2B5EF4-FFF2-40B4-BE49-F238E27FC236}">
                <a16:creationId xmlns:a16="http://schemas.microsoft.com/office/drawing/2014/main" id="{BD103A94-A9F0-B655-0436-D584910B9F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61032" y="1125486"/>
            <a:ext cx="2296886" cy="375781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lang="ru-RU" sz="2000" b="1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Наименование</a:t>
            </a:r>
          </a:p>
        </p:txBody>
      </p:sp>
      <p:sp>
        <p:nvSpPr>
          <p:cNvPr id="51" name="Текст 8">
            <a:extLst>
              <a:ext uri="{FF2B5EF4-FFF2-40B4-BE49-F238E27FC236}">
                <a16:creationId xmlns:a16="http://schemas.microsoft.com/office/drawing/2014/main" id="{8AA69B0B-6A79-80B8-C975-2425D98891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68224" y="1527643"/>
            <a:ext cx="2292694" cy="671683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52" name="Текст 8">
            <a:extLst>
              <a:ext uri="{FF2B5EF4-FFF2-40B4-BE49-F238E27FC236}">
                <a16:creationId xmlns:a16="http://schemas.microsoft.com/office/drawing/2014/main" id="{8DE7EE20-0FEF-068A-3634-24BEA2F1A2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811129" y="3072215"/>
            <a:ext cx="2307568" cy="375781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lang="ru-RU" sz="2000" b="1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Наименование</a:t>
            </a:r>
          </a:p>
        </p:txBody>
      </p:sp>
      <p:sp>
        <p:nvSpPr>
          <p:cNvPr id="53" name="Текст 8">
            <a:extLst>
              <a:ext uri="{FF2B5EF4-FFF2-40B4-BE49-F238E27FC236}">
                <a16:creationId xmlns:a16="http://schemas.microsoft.com/office/drawing/2014/main" id="{12A7CF9D-2552-AEE5-5DEE-B896C576690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22074" y="3472879"/>
            <a:ext cx="2296623" cy="674979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lang="ru-RU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54" name="Текст 8">
            <a:extLst>
              <a:ext uri="{FF2B5EF4-FFF2-40B4-BE49-F238E27FC236}">
                <a16:creationId xmlns:a16="http://schemas.microsoft.com/office/drawing/2014/main" id="{95304F8C-C228-B029-79CF-414FE90D55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762682" y="5016257"/>
            <a:ext cx="2296622" cy="375781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ru-RU" dirty="0"/>
              <a:t>Наименование</a:t>
            </a:r>
          </a:p>
        </p:txBody>
      </p:sp>
      <p:sp>
        <p:nvSpPr>
          <p:cNvPr id="55" name="Текст 8">
            <a:extLst>
              <a:ext uri="{FF2B5EF4-FFF2-40B4-BE49-F238E27FC236}">
                <a16:creationId xmlns:a16="http://schemas.microsoft.com/office/drawing/2014/main" id="{0B1144EA-4D35-C56F-499E-2BF8AB0675C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46376" y="5415859"/>
            <a:ext cx="2305049" cy="673834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lang="ru-RU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56" name="Текст 8">
            <a:extLst>
              <a:ext uri="{FF2B5EF4-FFF2-40B4-BE49-F238E27FC236}">
                <a16:creationId xmlns:a16="http://schemas.microsoft.com/office/drawing/2014/main" id="{E58C31DF-9F91-D5B7-1955-79E50100BEE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934295" y="5015532"/>
            <a:ext cx="2296621" cy="37578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lang="ru-RU" sz="2000" b="1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Наименование</a:t>
            </a:r>
          </a:p>
        </p:txBody>
      </p:sp>
      <p:sp>
        <p:nvSpPr>
          <p:cNvPr id="57" name="Текст 8">
            <a:extLst>
              <a:ext uri="{FF2B5EF4-FFF2-40B4-BE49-F238E27FC236}">
                <a16:creationId xmlns:a16="http://schemas.microsoft.com/office/drawing/2014/main" id="{4046606B-CA54-9C1D-7AA6-966ECDD6E82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34295" y="5414110"/>
            <a:ext cx="2292429" cy="67383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lang="ru-RU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58" name="Текст 8">
            <a:extLst>
              <a:ext uri="{FF2B5EF4-FFF2-40B4-BE49-F238E27FC236}">
                <a16:creationId xmlns:a16="http://schemas.microsoft.com/office/drawing/2014/main" id="{258A101E-C6C7-14EC-3853-EC677E9B735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079120" y="3074451"/>
            <a:ext cx="2295470" cy="37578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lang="ru-RU" sz="2000" b="1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Наименование</a:t>
            </a:r>
          </a:p>
        </p:txBody>
      </p:sp>
      <p:sp>
        <p:nvSpPr>
          <p:cNvPr id="59" name="Текст 8">
            <a:extLst>
              <a:ext uri="{FF2B5EF4-FFF2-40B4-BE49-F238E27FC236}">
                <a16:creationId xmlns:a16="http://schemas.microsoft.com/office/drawing/2014/main" id="{478D0317-9522-2B99-647C-913DF336ED1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081070" y="3475567"/>
            <a:ext cx="2298409" cy="69103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lang="ru-RU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60" name="Текст 8">
            <a:extLst>
              <a:ext uri="{FF2B5EF4-FFF2-40B4-BE49-F238E27FC236}">
                <a16:creationId xmlns:a16="http://schemas.microsoft.com/office/drawing/2014/main" id="{D0AB1FB0-B759-2313-E362-B168F77262B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934030" y="1127174"/>
            <a:ext cx="2296886" cy="37578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ru-RU" dirty="0"/>
              <a:t>Наименование</a:t>
            </a:r>
          </a:p>
        </p:txBody>
      </p:sp>
      <p:sp>
        <p:nvSpPr>
          <p:cNvPr id="61" name="Текст 8">
            <a:extLst>
              <a:ext uri="{FF2B5EF4-FFF2-40B4-BE49-F238E27FC236}">
                <a16:creationId xmlns:a16="http://schemas.microsoft.com/office/drawing/2014/main" id="{7527FC65-8CBC-AEE4-F1FA-45D40FA9C01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932680" y="1525540"/>
            <a:ext cx="2292694" cy="68861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62" name="Text Placeholder 7">
            <a:extLst>
              <a:ext uri="{FF2B5EF4-FFF2-40B4-BE49-F238E27FC236}">
                <a16:creationId xmlns:a16="http://schemas.microsoft.com/office/drawing/2014/main" id="{241EB7B2-8D51-7EE8-F3F2-22D7916734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836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01BFE0C7-4BFD-3510-6A26-4C8F57B5C7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1809467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нфографика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Группа 24">
            <a:extLst>
              <a:ext uri="{FF2B5EF4-FFF2-40B4-BE49-F238E27FC236}">
                <a16:creationId xmlns:a16="http://schemas.microsoft.com/office/drawing/2014/main" id="{0CA69A21-A88E-CB53-5A52-4CF008D81885}"/>
              </a:ext>
            </a:extLst>
          </p:cNvPr>
          <p:cNvGrpSpPr/>
          <p:nvPr userDrawn="1"/>
        </p:nvGrpSpPr>
        <p:grpSpPr>
          <a:xfrm>
            <a:off x="0" y="1159329"/>
            <a:ext cx="3737183" cy="4990304"/>
            <a:chOff x="0" y="1006133"/>
            <a:chExt cx="3851910" cy="5143500"/>
          </a:xfrm>
        </p:grpSpPr>
        <p:pic>
          <p:nvPicPr>
            <p:cNvPr id="33" name="Рисунок 32">
              <a:extLst>
                <a:ext uri="{FF2B5EF4-FFF2-40B4-BE49-F238E27FC236}">
                  <a16:creationId xmlns:a16="http://schemas.microsoft.com/office/drawing/2014/main" id="{006F928B-AC70-F2AB-60E9-77E0FE6CC52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l="1177" r="-619"/>
            <a:stretch/>
          </p:blipFill>
          <p:spPr>
            <a:xfrm>
              <a:off x="0" y="1006133"/>
              <a:ext cx="3851910" cy="5143500"/>
            </a:xfrm>
            <a:prstGeom prst="rect">
              <a:avLst/>
            </a:prstGeom>
          </p:spPr>
        </p:pic>
        <p:sp>
          <p:nvSpPr>
            <p:cNvPr id="37" name="Овал 59">
              <a:extLst>
                <a:ext uri="{FF2B5EF4-FFF2-40B4-BE49-F238E27FC236}">
                  <a16:creationId xmlns:a16="http://schemas.microsoft.com/office/drawing/2014/main" id="{872344E5-8D9E-1CC7-B9DC-F22A34FB5210}"/>
                </a:ext>
              </a:extLst>
            </p:cNvPr>
            <p:cNvSpPr/>
            <p:nvPr userDrawn="1"/>
          </p:nvSpPr>
          <p:spPr>
            <a:xfrm flipH="1">
              <a:off x="2824371" y="2763081"/>
              <a:ext cx="162000" cy="162000"/>
            </a:xfrm>
            <a:prstGeom prst="ellipse">
              <a:avLst/>
            </a:prstGeom>
            <a:solidFill>
              <a:schemeClr val="accent2"/>
            </a:solidFill>
            <a:ln w="28575">
              <a:solidFill>
                <a:schemeClr val="bg1"/>
              </a:solidFill>
            </a:ln>
          </p:spPr>
          <p:txBody>
            <a:bodyPr rot="0" spcFirstLastPara="0" vertOverflow="overflow" horzOverflow="overflow" vert="horz" wrap="square" lIns="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Овал 59">
              <a:extLst>
                <a:ext uri="{FF2B5EF4-FFF2-40B4-BE49-F238E27FC236}">
                  <a16:creationId xmlns:a16="http://schemas.microsoft.com/office/drawing/2014/main" id="{4A357350-B690-5F31-4716-63C1B49B6EC8}"/>
                </a:ext>
              </a:extLst>
            </p:cNvPr>
            <p:cNvSpPr/>
            <p:nvPr userDrawn="1"/>
          </p:nvSpPr>
          <p:spPr>
            <a:xfrm flipH="1">
              <a:off x="2424505" y="4171851"/>
              <a:ext cx="162000" cy="162000"/>
            </a:xfrm>
            <a:prstGeom prst="ellipse">
              <a:avLst/>
            </a:prstGeom>
            <a:solidFill>
              <a:schemeClr val="accent1"/>
            </a:solidFill>
            <a:ln w="28575">
              <a:solidFill>
                <a:schemeClr val="bg1"/>
              </a:solidFill>
            </a:ln>
          </p:spPr>
          <p:txBody>
            <a:bodyPr rot="0" spcFirstLastPara="0" vertOverflow="overflow" horzOverflow="overflow" vert="horz" wrap="square" lIns="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Овал 59">
              <a:extLst>
                <a:ext uri="{FF2B5EF4-FFF2-40B4-BE49-F238E27FC236}">
                  <a16:creationId xmlns:a16="http://schemas.microsoft.com/office/drawing/2014/main" id="{081BEBE3-1611-B03A-8A78-140C5162CFB0}"/>
                </a:ext>
              </a:extLst>
            </p:cNvPr>
            <p:cNvSpPr/>
            <p:nvPr userDrawn="1"/>
          </p:nvSpPr>
          <p:spPr>
            <a:xfrm flipH="1">
              <a:off x="2097477" y="1514771"/>
              <a:ext cx="162000" cy="162000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28575">
              <a:solidFill>
                <a:schemeClr val="bg1"/>
              </a:solidFill>
            </a:ln>
          </p:spPr>
          <p:txBody>
            <a:bodyPr rot="0" spcFirstLastPara="0" vertOverflow="overflow" horzOverflow="overflow" vert="horz" wrap="square" lIns="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Овал 59">
              <a:extLst>
                <a:ext uri="{FF2B5EF4-FFF2-40B4-BE49-F238E27FC236}">
                  <a16:creationId xmlns:a16="http://schemas.microsoft.com/office/drawing/2014/main" id="{2691A3E8-3CFC-32F6-DCCE-6E3C3651F942}"/>
                </a:ext>
              </a:extLst>
            </p:cNvPr>
            <p:cNvSpPr/>
            <p:nvPr userDrawn="1"/>
          </p:nvSpPr>
          <p:spPr>
            <a:xfrm flipH="1">
              <a:off x="2503495" y="5689867"/>
              <a:ext cx="162000" cy="162000"/>
            </a:xfrm>
            <a:prstGeom prst="ellipse">
              <a:avLst/>
            </a:prstGeom>
            <a:solidFill>
              <a:schemeClr val="accent3"/>
            </a:solidFill>
            <a:ln w="28575">
              <a:solidFill>
                <a:schemeClr val="bg1"/>
              </a:solidFill>
            </a:ln>
          </p:spPr>
          <p:txBody>
            <a:bodyPr rot="0" spcFirstLastPara="0" vertOverflow="overflow" horzOverflow="overflow" vert="horz" wrap="square" lIns="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7" name="Текст 8">
            <a:extLst>
              <a:ext uri="{FF2B5EF4-FFF2-40B4-BE49-F238E27FC236}">
                <a16:creationId xmlns:a16="http://schemas.microsoft.com/office/drawing/2014/main" id="{D68D2554-3BB5-D0F1-471D-1C30AC2503D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95782" y="1783789"/>
            <a:ext cx="2608843" cy="39571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lang="ru-RU" sz="2000" b="1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Название</a:t>
            </a:r>
          </a:p>
        </p:txBody>
      </p:sp>
      <p:sp>
        <p:nvSpPr>
          <p:cNvPr id="28" name="Текст 8">
            <a:extLst>
              <a:ext uri="{FF2B5EF4-FFF2-40B4-BE49-F238E27FC236}">
                <a16:creationId xmlns:a16="http://schemas.microsoft.com/office/drawing/2014/main" id="{E7BF8D78-2B72-1ABC-9075-1FE9DB34A0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10650" y="2526725"/>
            <a:ext cx="2593975" cy="122612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lang="ru-RU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31" name="Текст 8">
            <a:extLst>
              <a:ext uri="{FF2B5EF4-FFF2-40B4-BE49-F238E27FC236}">
                <a16:creationId xmlns:a16="http://schemas.microsoft.com/office/drawing/2014/main" id="{D26DBA03-DA6E-5430-7CAC-8BDD79FFAFC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995782" y="3945313"/>
            <a:ext cx="2308265" cy="3944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lang="ru-RU" sz="2000" b="1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Название</a:t>
            </a:r>
          </a:p>
        </p:txBody>
      </p:sp>
      <p:sp>
        <p:nvSpPr>
          <p:cNvPr id="32" name="Текст 8">
            <a:extLst>
              <a:ext uri="{FF2B5EF4-FFF2-40B4-BE49-F238E27FC236}">
                <a16:creationId xmlns:a16="http://schemas.microsoft.com/office/drawing/2014/main" id="{FEC29BEB-F754-4B20-E69C-A713ABDA1CD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010650" y="4685130"/>
            <a:ext cx="2593975" cy="122202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lang="ru-RU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pic>
        <p:nvPicPr>
          <p:cNvPr id="34" name="Graphic 29">
            <a:extLst>
              <a:ext uri="{FF2B5EF4-FFF2-40B4-BE49-F238E27FC236}">
                <a16:creationId xmlns:a16="http://schemas.microsoft.com/office/drawing/2014/main" id="{F7000E34-BA20-7D63-3E76-4A7D3C57DF7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92798" y="2610182"/>
            <a:ext cx="2025538" cy="2025529"/>
          </a:xfrm>
          <a:prstGeom prst="rect">
            <a:avLst/>
          </a:prstGeom>
        </p:spPr>
      </p:pic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3FF7D14D-1699-3384-FC18-6847CFC493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836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54" name="Текст 8">
            <a:extLst>
              <a:ext uri="{FF2B5EF4-FFF2-40B4-BE49-F238E27FC236}">
                <a16:creationId xmlns:a16="http://schemas.microsoft.com/office/drawing/2014/main" id="{023D0BDC-9D5C-B08C-DEC6-896370DE9AF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51917" y="1783789"/>
            <a:ext cx="2608843" cy="39571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lang="ru-RU" sz="20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Название</a:t>
            </a:r>
          </a:p>
        </p:txBody>
      </p:sp>
      <p:sp>
        <p:nvSpPr>
          <p:cNvPr id="55" name="Текст 8">
            <a:extLst>
              <a:ext uri="{FF2B5EF4-FFF2-40B4-BE49-F238E27FC236}">
                <a16:creationId xmlns:a16="http://schemas.microsoft.com/office/drawing/2014/main" id="{934B33EB-DEEE-2480-10F9-49707CBDBDC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266785" y="2526725"/>
            <a:ext cx="2593975" cy="122612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lang="ru-RU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56" name="Текст 8">
            <a:extLst>
              <a:ext uri="{FF2B5EF4-FFF2-40B4-BE49-F238E27FC236}">
                <a16:creationId xmlns:a16="http://schemas.microsoft.com/office/drawing/2014/main" id="{58FF7C63-C04F-0B02-54C5-C35963D04FF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251917" y="3945313"/>
            <a:ext cx="2308265" cy="39443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lang="ru-RU" sz="2000" b="1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Название</a:t>
            </a:r>
          </a:p>
        </p:txBody>
      </p:sp>
      <p:sp>
        <p:nvSpPr>
          <p:cNvPr id="57" name="Текст 8">
            <a:extLst>
              <a:ext uri="{FF2B5EF4-FFF2-40B4-BE49-F238E27FC236}">
                <a16:creationId xmlns:a16="http://schemas.microsoft.com/office/drawing/2014/main" id="{D10C6968-4E67-7016-615A-79F6C150FAE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266785" y="4685130"/>
            <a:ext cx="2593975" cy="122202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lang="ru-RU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3F0C5B27-4E3A-3070-CC74-4FABCA413E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19220524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нфографика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C0DF8995-C01F-9B89-E1A7-A9B3029076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836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74" name="Text Placeholder 7">
            <a:extLst>
              <a:ext uri="{FF2B5EF4-FFF2-40B4-BE49-F238E27FC236}">
                <a16:creationId xmlns:a16="http://schemas.microsoft.com/office/drawing/2014/main" id="{2A3CECA6-3B9F-151E-DC79-38A80FCBE3B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817" y="2480070"/>
            <a:ext cx="2584184" cy="1056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75" name="Text Placeholder 7">
            <a:extLst>
              <a:ext uri="{FF2B5EF4-FFF2-40B4-BE49-F238E27FC236}">
                <a16:creationId xmlns:a16="http://schemas.microsoft.com/office/drawing/2014/main" id="{6965B227-41FD-95C8-6734-8117F6EB86A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6971" y="1495397"/>
            <a:ext cx="1533008" cy="7498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6000" b="1" kern="1200" dirty="0">
                <a:gradFill flip="none" rotWithShape="1">
                  <a:gsLst>
                    <a:gs pos="0">
                      <a:schemeClr val="accent1"/>
                    </a:gs>
                    <a:gs pos="97000">
                      <a:schemeClr val="accent3"/>
                    </a:gs>
                  </a:gsLst>
                  <a:lin ang="16200000" scaled="1"/>
                  <a:tileRect/>
                </a:gra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lvl="0" indent="0" algn="l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charset="0"/>
              <a:buNone/>
            </a:pPr>
            <a:r>
              <a:rPr lang="ru-RU" dirty="0"/>
              <a:t>03</a:t>
            </a:r>
            <a:endParaRPr lang="en-US" dirty="0"/>
          </a:p>
        </p:txBody>
      </p:sp>
      <p:sp>
        <p:nvSpPr>
          <p:cNvPr id="78" name="Text Placeholder 7">
            <a:extLst>
              <a:ext uri="{FF2B5EF4-FFF2-40B4-BE49-F238E27FC236}">
                <a16:creationId xmlns:a16="http://schemas.microsoft.com/office/drawing/2014/main" id="{F6F641C4-DA32-2678-5E82-D060CD964B9E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018817" y="5066334"/>
            <a:ext cx="2584184" cy="1056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79" name="Text Placeholder 7">
            <a:extLst>
              <a:ext uri="{FF2B5EF4-FFF2-40B4-BE49-F238E27FC236}">
                <a16:creationId xmlns:a16="http://schemas.microsoft.com/office/drawing/2014/main" id="{C6E3AD58-4A1C-A555-7EEF-E3AE735CED7F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016971" y="4081661"/>
            <a:ext cx="1533008" cy="7498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6000" b="1" kern="1200" dirty="0">
                <a:gradFill flip="none" rotWithShape="1">
                  <a:gsLst>
                    <a:gs pos="0">
                      <a:schemeClr val="accent1"/>
                    </a:gs>
                    <a:gs pos="97000">
                      <a:schemeClr val="accent3"/>
                    </a:gs>
                  </a:gsLst>
                  <a:lin ang="16200000" scaled="1"/>
                  <a:tileRect/>
                </a:gra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lvl="0" indent="0" algn="l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charset="0"/>
              <a:buNone/>
            </a:pPr>
            <a:r>
              <a:rPr lang="ru-RU" dirty="0"/>
              <a:t>04</a:t>
            </a:r>
            <a:endParaRPr lang="en-US" dirty="0"/>
          </a:p>
        </p:txBody>
      </p:sp>
      <p:sp>
        <p:nvSpPr>
          <p:cNvPr id="80" name="Text Placeholder 7">
            <a:extLst>
              <a:ext uri="{FF2B5EF4-FFF2-40B4-BE49-F238E27FC236}">
                <a16:creationId xmlns:a16="http://schemas.microsoft.com/office/drawing/2014/main" id="{8634B998-CDA8-C7CE-6127-881F76395618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79667" y="2480070"/>
            <a:ext cx="2584184" cy="1056880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82" name="Text Placeholder 7">
            <a:extLst>
              <a:ext uri="{FF2B5EF4-FFF2-40B4-BE49-F238E27FC236}">
                <a16:creationId xmlns:a16="http://schemas.microsoft.com/office/drawing/2014/main" id="{45F30010-498C-4534-DC93-D6FD70448C7A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79667" y="5066334"/>
            <a:ext cx="2584184" cy="1056880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6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85" name="Text Placeholder 7">
            <a:extLst>
              <a:ext uri="{FF2B5EF4-FFF2-40B4-BE49-F238E27FC236}">
                <a16:creationId xmlns:a16="http://schemas.microsoft.com/office/drawing/2014/main" id="{587692BF-3A3F-AE49-FFBF-C2A8647BF7DF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524000" y="1504334"/>
            <a:ext cx="1783175" cy="873598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6000" b="1" kern="1200" dirty="0">
                <a:gradFill flip="none" rotWithShape="1">
                  <a:gsLst>
                    <a:gs pos="0">
                      <a:schemeClr val="accent1"/>
                    </a:gs>
                    <a:gs pos="97000">
                      <a:schemeClr val="accent3"/>
                    </a:gs>
                  </a:gsLst>
                  <a:lin ang="16200000" scaled="1"/>
                  <a:tileRect/>
                </a:gra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1</a:t>
            </a:r>
            <a:endParaRPr lang="en-US" dirty="0"/>
          </a:p>
        </p:txBody>
      </p:sp>
      <p:sp>
        <p:nvSpPr>
          <p:cNvPr id="86" name="Text Placeholder 7">
            <a:extLst>
              <a:ext uri="{FF2B5EF4-FFF2-40B4-BE49-F238E27FC236}">
                <a16:creationId xmlns:a16="http://schemas.microsoft.com/office/drawing/2014/main" id="{1C274825-AEC5-A998-1E3E-D1B2854FF4E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435512" y="4100050"/>
            <a:ext cx="1783175" cy="873598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6000" b="1" kern="1200" dirty="0">
                <a:gradFill flip="none" rotWithShape="1">
                  <a:gsLst>
                    <a:gs pos="0">
                      <a:schemeClr val="accent1"/>
                    </a:gs>
                    <a:gs pos="97000">
                      <a:schemeClr val="accent3"/>
                    </a:gs>
                  </a:gsLst>
                  <a:lin ang="16200000" scaled="1"/>
                  <a:tileRect/>
                </a:gra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2</a:t>
            </a:r>
            <a:endParaRPr lang="en-US" dirty="0"/>
          </a:p>
        </p:txBody>
      </p:sp>
      <p:sp>
        <p:nvSpPr>
          <p:cNvPr id="87" name="Рисунок 3">
            <a:extLst>
              <a:ext uri="{FF2B5EF4-FFF2-40B4-BE49-F238E27FC236}">
                <a16:creationId xmlns:a16="http://schemas.microsoft.com/office/drawing/2014/main" id="{E638723B-89F8-F16B-88D4-0DEBD5EE8572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329327" y="1994567"/>
            <a:ext cx="3529013" cy="352901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Рисунок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A7ADEA13-DF78-6A37-0C68-BD0B8FD592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10144733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нфографика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raphic 29">
            <a:extLst>
              <a:ext uri="{FF2B5EF4-FFF2-40B4-BE49-F238E27FC236}">
                <a16:creationId xmlns:a16="http://schemas.microsoft.com/office/drawing/2014/main" id="{0CDEBE34-FEFB-3FB2-7973-039CDD0ED6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5574629" y="2907631"/>
            <a:ext cx="1042743" cy="1042739"/>
          </a:xfrm>
          <a:prstGeom prst="rect">
            <a:avLst/>
          </a:prstGeom>
        </p:spPr>
      </p:pic>
      <p:sp>
        <p:nvSpPr>
          <p:cNvPr id="29" name="Рисунок 2">
            <a:extLst>
              <a:ext uri="{FF2B5EF4-FFF2-40B4-BE49-F238E27FC236}">
                <a16:creationId xmlns:a16="http://schemas.microsoft.com/office/drawing/2014/main" id="{0693B664-56D8-12CF-E7C6-4F7C342B9E9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75613" y="1557283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30" name="Текст 8">
            <a:extLst>
              <a:ext uri="{FF2B5EF4-FFF2-40B4-BE49-F238E27FC236}">
                <a16:creationId xmlns:a16="http://schemas.microsoft.com/office/drawing/2014/main" id="{A79F1246-6C4D-5471-7A76-9B969B66725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08653" y="1609681"/>
            <a:ext cx="2595972" cy="41438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lang="ru-RU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Название</a:t>
            </a:r>
          </a:p>
        </p:txBody>
      </p:sp>
      <p:sp>
        <p:nvSpPr>
          <p:cNvPr id="31" name="Текст 8">
            <a:extLst>
              <a:ext uri="{FF2B5EF4-FFF2-40B4-BE49-F238E27FC236}">
                <a16:creationId xmlns:a16="http://schemas.microsoft.com/office/drawing/2014/main" id="{56BB81BA-FCAF-3F87-A852-9D598144C81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0649" y="1958659"/>
            <a:ext cx="2593975" cy="93059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C0DF8995-C01F-9B89-E1A7-A9B3029076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836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36" name="Рисунок 2">
            <a:extLst>
              <a:ext uri="{FF2B5EF4-FFF2-40B4-BE49-F238E27FC236}">
                <a16:creationId xmlns:a16="http://schemas.microsoft.com/office/drawing/2014/main" id="{E5A09830-6DD4-3B3B-DC8E-A8C904DA21D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075613" y="4585423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37" name="Текст 8">
            <a:extLst>
              <a:ext uri="{FF2B5EF4-FFF2-40B4-BE49-F238E27FC236}">
                <a16:creationId xmlns:a16="http://schemas.microsoft.com/office/drawing/2014/main" id="{4A7141BD-2D3D-2115-4EDA-52D85958D4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08653" y="4637821"/>
            <a:ext cx="2595972" cy="41438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lang="ru-RU" sz="1600" b="1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Название</a:t>
            </a:r>
          </a:p>
        </p:txBody>
      </p:sp>
      <p:sp>
        <p:nvSpPr>
          <p:cNvPr id="38" name="Текст 8">
            <a:extLst>
              <a:ext uri="{FF2B5EF4-FFF2-40B4-BE49-F238E27FC236}">
                <a16:creationId xmlns:a16="http://schemas.microsoft.com/office/drawing/2014/main" id="{20E56C8A-DB86-F37B-1F2D-2CE52929CE5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010649" y="4986799"/>
            <a:ext cx="2593975" cy="93059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39" name="Рисунок 2">
            <a:extLst>
              <a:ext uri="{FF2B5EF4-FFF2-40B4-BE49-F238E27FC236}">
                <a16:creationId xmlns:a16="http://schemas.microsoft.com/office/drawing/2014/main" id="{0F73C1A8-7DAF-7FA2-BDC6-968CEA777E66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399111" y="1557283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40" name="Рисунок 2">
            <a:extLst>
              <a:ext uri="{FF2B5EF4-FFF2-40B4-BE49-F238E27FC236}">
                <a16:creationId xmlns:a16="http://schemas.microsoft.com/office/drawing/2014/main" id="{07B3D0C6-18DE-BCCC-1AC4-FE6912881CC2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399111" y="4585423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42" name="Текст 8">
            <a:extLst>
              <a:ext uri="{FF2B5EF4-FFF2-40B4-BE49-F238E27FC236}">
                <a16:creationId xmlns:a16="http://schemas.microsoft.com/office/drawing/2014/main" id="{7DB21F9F-A02F-A67C-7355-0E3618A8A9A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85787" y="1958659"/>
            <a:ext cx="2593975" cy="930592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4" name="Текст 8">
            <a:extLst>
              <a:ext uri="{FF2B5EF4-FFF2-40B4-BE49-F238E27FC236}">
                <a16:creationId xmlns:a16="http://schemas.microsoft.com/office/drawing/2014/main" id="{6480E82C-5D34-5186-31F9-EA0EE4517EB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85787" y="4986799"/>
            <a:ext cx="2593975" cy="930592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5" name="Текст 8">
            <a:extLst>
              <a:ext uri="{FF2B5EF4-FFF2-40B4-BE49-F238E27FC236}">
                <a16:creationId xmlns:a16="http://schemas.microsoft.com/office/drawing/2014/main" id="{75E07052-872F-ACFD-7B53-D9B19C549D7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92821" y="1609681"/>
            <a:ext cx="2593975" cy="414381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46" name="Текст 8">
            <a:extLst>
              <a:ext uri="{FF2B5EF4-FFF2-40B4-BE49-F238E27FC236}">
                <a16:creationId xmlns:a16="http://schemas.microsoft.com/office/drawing/2014/main" id="{8305987F-4F41-805B-728C-63F1DEC64EC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92821" y="4635376"/>
            <a:ext cx="2593975" cy="42009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dirty="0"/>
              <a:t>Название</a:t>
            </a: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8C882DEA-21AA-16C9-EC80-49486AF2CE9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/>
          <a:stretch/>
        </p:blipFill>
        <p:spPr>
          <a:xfrm>
            <a:off x="4657491" y="1969249"/>
            <a:ext cx="2880000" cy="2880000"/>
          </a:xfrm>
          <a:prstGeom prst="rect">
            <a:avLst/>
          </a:prstGeom>
        </p:spPr>
      </p:pic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1D603493-BD63-19B0-EF1F-162E9E3D0D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2331480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нфографика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2487ED05-47DD-3E0A-AB9F-D7632FD567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836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pic>
        <p:nvPicPr>
          <p:cNvPr id="42" name="Graphic 29">
            <a:extLst>
              <a:ext uri="{FF2B5EF4-FFF2-40B4-BE49-F238E27FC236}">
                <a16:creationId xmlns:a16="http://schemas.microsoft.com/office/drawing/2014/main" id="{F82700E6-C2D6-9D28-1EC7-15223C8C49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5574629" y="2907631"/>
            <a:ext cx="1042743" cy="1042739"/>
          </a:xfrm>
          <a:prstGeom prst="rect">
            <a:avLst/>
          </a:prstGeom>
        </p:spPr>
      </p:pic>
      <p:sp>
        <p:nvSpPr>
          <p:cNvPr id="43" name="Рисунок 2">
            <a:extLst>
              <a:ext uri="{FF2B5EF4-FFF2-40B4-BE49-F238E27FC236}">
                <a16:creationId xmlns:a16="http://schemas.microsoft.com/office/drawing/2014/main" id="{93716FE9-2591-021B-7F64-55C02C49971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140577" y="1342174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44" name="Текст 8">
            <a:extLst>
              <a:ext uri="{FF2B5EF4-FFF2-40B4-BE49-F238E27FC236}">
                <a16:creationId xmlns:a16="http://schemas.microsoft.com/office/drawing/2014/main" id="{FA8EC6AB-ABAE-E030-FDA1-706C3E421E9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73617" y="1394572"/>
            <a:ext cx="2595972" cy="41438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lang="ru-RU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Название</a:t>
            </a:r>
          </a:p>
        </p:txBody>
      </p:sp>
      <p:sp>
        <p:nvSpPr>
          <p:cNvPr id="45" name="Текст 8">
            <a:extLst>
              <a:ext uri="{FF2B5EF4-FFF2-40B4-BE49-F238E27FC236}">
                <a16:creationId xmlns:a16="http://schemas.microsoft.com/office/drawing/2014/main" id="{3EA381D1-6BAA-E98E-828F-9D8A18CD2F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075613" y="1743550"/>
            <a:ext cx="2593975" cy="93059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6" name="Рисунок 2">
            <a:extLst>
              <a:ext uri="{FF2B5EF4-FFF2-40B4-BE49-F238E27FC236}">
                <a16:creationId xmlns:a16="http://schemas.microsoft.com/office/drawing/2014/main" id="{6EC25266-EDAA-8717-B57D-EFD516F4B547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8077099" y="3716663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48" name="Текст 8">
            <a:extLst>
              <a:ext uri="{FF2B5EF4-FFF2-40B4-BE49-F238E27FC236}">
                <a16:creationId xmlns:a16="http://schemas.microsoft.com/office/drawing/2014/main" id="{E0314438-DDA9-3EF0-C3F7-2D7121325B5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010139" y="3769061"/>
            <a:ext cx="2595972" cy="41438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lang="ru-RU" sz="1600" b="1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Название</a:t>
            </a:r>
          </a:p>
        </p:txBody>
      </p:sp>
      <p:sp>
        <p:nvSpPr>
          <p:cNvPr id="55" name="Текст 8">
            <a:extLst>
              <a:ext uri="{FF2B5EF4-FFF2-40B4-BE49-F238E27FC236}">
                <a16:creationId xmlns:a16="http://schemas.microsoft.com/office/drawing/2014/main" id="{6C569E38-7BAC-C6A0-3D89-B6023E4C744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012135" y="4118039"/>
            <a:ext cx="2593975" cy="93059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56" name="Рисунок 2">
            <a:extLst>
              <a:ext uri="{FF2B5EF4-FFF2-40B4-BE49-F238E27FC236}">
                <a16:creationId xmlns:a16="http://schemas.microsoft.com/office/drawing/2014/main" id="{AD791025-496F-FD70-F72A-B50ECA15F39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0698" y="1345848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57" name="Текст 8">
            <a:extLst>
              <a:ext uri="{FF2B5EF4-FFF2-40B4-BE49-F238E27FC236}">
                <a16:creationId xmlns:a16="http://schemas.microsoft.com/office/drawing/2014/main" id="{488011F0-4633-7408-EE10-D5BC456CC79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517374" y="1747224"/>
            <a:ext cx="2593975" cy="930592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58" name="Текст 8">
            <a:extLst>
              <a:ext uri="{FF2B5EF4-FFF2-40B4-BE49-F238E27FC236}">
                <a16:creationId xmlns:a16="http://schemas.microsoft.com/office/drawing/2014/main" id="{A317FE59-3BF4-9A6C-7C79-1A8DFF97A0B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524408" y="1398246"/>
            <a:ext cx="2593975" cy="414381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59" name="Рисунок 2">
            <a:extLst>
              <a:ext uri="{FF2B5EF4-FFF2-40B4-BE49-F238E27FC236}">
                <a16:creationId xmlns:a16="http://schemas.microsoft.com/office/drawing/2014/main" id="{6CEE678D-B97D-EF1B-CCFC-5FD267271FCF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3398196" y="3717294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60" name="Текст 8">
            <a:extLst>
              <a:ext uri="{FF2B5EF4-FFF2-40B4-BE49-F238E27FC236}">
                <a16:creationId xmlns:a16="http://schemas.microsoft.com/office/drawing/2014/main" id="{49AE145A-0499-25CA-59E3-8246E0EF44C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84872" y="4118670"/>
            <a:ext cx="2593975" cy="930592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61" name="Текст 8">
            <a:extLst>
              <a:ext uri="{FF2B5EF4-FFF2-40B4-BE49-F238E27FC236}">
                <a16:creationId xmlns:a16="http://schemas.microsoft.com/office/drawing/2014/main" id="{6F059654-5FEC-21B3-7AF4-F4110AA7E4EC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91906" y="3769692"/>
            <a:ext cx="2593975" cy="414381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62" name="Рисунок 2">
            <a:extLst>
              <a:ext uri="{FF2B5EF4-FFF2-40B4-BE49-F238E27FC236}">
                <a16:creationId xmlns:a16="http://schemas.microsoft.com/office/drawing/2014/main" id="{74B95AE2-50E4-14C3-16A5-30127FF968C8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5737225" y="5234520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72" name="Текст 8">
            <a:extLst>
              <a:ext uri="{FF2B5EF4-FFF2-40B4-BE49-F238E27FC236}">
                <a16:creationId xmlns:a16="http://schemas.microsoft.com/office/drawing/2014/main" id="{1CE1CA18-A7E5-99A0-A994-7AA54ABDA291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923901" y="5635896"/>
            <a:ext cx="2593975" cy="493442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73" name="Текст 8">
            <a:extLst>
              <a:ext uri="{FF2B5EF4-FFF2-40B4-BE49-F238E27FC236}">
                <a16:creationId xmlns:a16="http://schemas.microsoft.com/office/drawing/2014/main" id="{659E69AA-EF95-0ABA-AC1D-F15E43982A0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2930935" y="5286918"/>
            <a:ext cx="2593975" cy="414381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dirty="0"/>
              <a:t>Название</a:t>
            </a: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E713D88D-C09F-5D29-6D81-B60413F32FF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/>
          <a:stretch/>
        </p:blipFill>
        <p:spPr>
          <a:xfrm>
            <a:off x="4668269" y="1989000"/>
            <a:ext cx="2880000" cy="2880000"/>
          </a:xfrm>
          <a:prstGeom prst="rect">
            <a:avLst/>
          </a:prstGeom>
        </p:spPr>
      </p:pic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9911C448-9F73-7720-64BD-7B7C2EBEB9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18104980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нфографика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Text Placeholder 7">
            <a:extLst>
              <a:ext uri="{FF2B5EF4-FFF2-40B4-BE49-F238E27FC236}">
                <a16:creationId xmlns:a16="http://schemas.microsoft.com/office/drawing/2014/main" id="{71511605-0E5B-6F4D-B6B8-AF5EBC78EE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836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pic>
        <p:nvPicPr>
          <p:cNvPr id="66" name="Graphic 29">
            <a:extLst>
              <a:ext uri="{FF2B5EF4-FFF2-40B4-BE49-F238E27FC236}">
                <a16:creationId xmlns:a16="http://schemas.microsoft.com/office/drawing/2014/main" id="{3922022D-624C-3538-4E38-CDFF59D1BF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5574629" y="2907631"/>
            <a:ext cx="1042743" cy="1042739"/>
          </a:xfrm>
          <a:prstGeom prst="rect">
            <a:avLst/>
          </a:prstGeom>
        </p:spPr>
      </p:pic>
      <p:sp>
        <p:nvSpPr>
          <p:cNvPr id="67" name="Рисунок 2">
            <a:extLst>
              <a:ext uri="{FF2B5EF4-FFF2-40B4-BE49-F238E27FC236}">
                <a16:creationId xmlns:a16="http://schemas.microsoft.com/office/drawing/2014/main" id="{C9958108-6729-399F-5602-F4226E5991E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75613" y="1557283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68" name="Текст 8">
            <a:extLst>
              <a:ext uri="{FF2B5EF4-FFF2-40B4-BE49-F238E27FC236}">
                <a16:creationId xmlns:a16="http://schemas.microsoft.com/office/drawing/2014/main" id="{61D80A9F-D5CC-747A-FAAE-D02BCE63CED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08653" y="1609681"/>
            <a:ext cx="2595972" cy="41438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lang="ru-RU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Название</a:t>
            </a:r>
          </a:p>
        </p:txBody>
      </p:sp>
      <p:sp>
        <p:nvSpPr>
          <p:cNvPr id="70" name="Текст 8">
            <a:extLst>
              <a:ext uri="{FF2B5EF4-FFF2-40B4-BE49-F238E27FC236}">
                <a16:creationId xmlns:a16="http://schemas.microsoft.com/office/drawing/2014/main" id="{0D766FCD-C412-01A0-A607-1C8E450732B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0649" y="1958659"/>
            <a:ext cx="2593975" cy="93059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71" name="Рисунок 2">
            <a:extLst>
              <a:ext uri="{FF2B5EF4-FFF2-40B4-BE49-F238E27FC236}">
                <a16:creationId xmlns:a16="http://schemas.microsoft.com/office/drawing/2014/main" id="{637BFE5F-CC98-0E98-C909-FA6A0272CB2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075613" y="4585991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72" name="Текст 8">
            <a:extLst>
              <a:ext uri="{FF2B5EF4-FFF2-40B4-BE49-F238E27FC236}">
                <a16:creationId xmlns:a16="http://schemas.microsoft.com/office/drawing/2014/main" id="{8EE60BC7-553C-1E13-FC26-EB294FC4FA3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08653" y="4638389"/>
            <a:ext cx="2595972" cy="41438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lang="ru-RU" sz="1600" b="1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Название</a:t>
            </a:r>
          </a:p>
        </p:txBody>
      </p:sp>
      <p:sp>
        <p:nvSpPr>
          <p:cNvPr id="73" name="Текст 8">
            <a:extLst>
              <a:ext uri="{FF2B5EF4-FFF2-40B4-BE49-F238E27FC236}">
                <a16:creationId xmlns:a16="http://schemas.microsoft.com/office/drawing/2014/main" id="{8D70D691-A117-6E8E-C39E-1D3F6318E58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010649" y="4987367"/>
            <a:ext cx="2593975" cy="93059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74" name="Рисунок 2">
            <a:extLst>
              <a:ext uri="{FF2B5EF4-FFF2-40B4-BE49-F238E27FC236}">
                <a16:creationId xmlns:a16="http://schemas.microsoft.com/office/drawing/2014/main" id="{7D9F4EF8-28D9-4CD8-2DFB-746BBEF88285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399111" y="1557283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75" name="Рисунок 2">
            <a:extLst>
              <a:ext uri="{FF2B5EF4-FFF2-40B4-BE49-F238E27FC236}">
                <a16:creationId xmlns:a16="http://schemas.microsoft.com/office/drawing/2014/main" id="{89868A0D-3F41-ACD1-4766-C25F711B783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399111" y="4596082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76" name="Текст 8">
            <a:extLst>
              <a:ext uri="{FF2B5EF4-FFF2-40B4-BE49-F238E27FC236}">
                <a16:creationId xmlns:a16="http://schemas.microsoft.com/office/drawing/2014/main" id="{58C69E6D-9053-8120-CB8E-43CA050A873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85787" y="1958659"/>
            <a:ext cx="2593975" cy="930592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77" name="Текст 8">
            <a:extLst>
              <a:ext uri="{FF2B5EF4-FFF2-40B4-BE49-F238E27FC236}">
                <a16:creationId xmlns:a16="http://schemas.microsoft.com/office/drawing/2014/main" id="{6EEFD3CF-AC6A-8CE4-52A1-F32AA8190F5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85787" y="4987126"/>
            <a:ext cx="2593975" cy="930592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78" name="Текст 8">
            <a:extLst>
              <a:ext uri="{FF2B5EF4-FFF2-40B4-BE49-F238E27FC236}">
                <a16:creationId xmlns:a16="http://schemas.microsoft.com/office/drawing/2014/main" id="{A17E892B-D1C1-3B94-0720-E14F71B4E56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92821" y="1609681"/>
            <a:ext cx="2593975" cy="414381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79" name="Текст 8">
            <a:extLst>
              <a:ext uri="{FF2B5EF4-FFF2-40B4-BE49-F238E27FC236}">
                <a16:creationId xmlns:a16="http://schemas.microsoft.com/office/drawing/2014/main" id="{D8C684B4-DA1C-20D2-F42D-F84E4B3A1262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92821" y="4639772"/>
            <a:ext cx="2593975" cy="42009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80" name="Рисунок 2">
            <a:extLst>
              <a:ext uri="{FF2B5EF4-FFF2-40B4-BE49-F238E27FC236}">
                <a16:creationId xmlns:a16="http://schemas.microsoft.com/office/drawing/2014/main" id="{5BE5B73C-41EF-6829-74B4-D03C73088AC3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8075613" y="3072185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81" name="Текст 8">
            <a:extLst>
              <a:ext uri="{FF2B5EF4-FFF2-40B4-BE49-F238E27FC236}">
                <a16:creationId xmlns:a16="http://schemas.microsoft.com/office/drawing/2014/main" id="{4A7693B8-C016-BFD3-4F3C-542C875474C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008653" y="3124583"/>
            <a:ext cx="2595972" cy="41438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lang="ru-RU" sz="1600" b="1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Название</a:t>
            </a:r>
          </a:p>
        </p:txBody>
      </p:sp>
      <p:sp>
        <p:nvSpPr>
          <p:cNvPr id="82" name="Текст 8">
            <a:extLst>
              <a:ext uri="{FF2B5EF4-FFF2-40B4-BE49-F238E27FC236}">
                <a16:creationId xmlns:a16="http://schemas.microsoft.com/office/drawing/2014/main" id="{C0659320-15AA-7446-A164-CD4A6C1F6B88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010649" y="3473561"/>
            <a:ext cx="2593975" cy="93059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83" name="Рисунок 2">
            <a:extLst>
              <a:ext uri="{FF2B5EF4-FFF2-40B4-BE49-F238E27FC236}">
                <a16:creationId xmlns:a16="http://schemas.microsoft.com/office/drawing/2014/main" id="{13327E05-CC61-BEED-472E-161A0DC75FD6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3399111" y="2868135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84" name="Текст 8">
            <a:extLst>
              <a:ext uri="{FF2B5EF4-FFF2-40B4-BE49-F238E27FC236}">
                <a16:creationId xmlns:a16="http://schemas.microsoft.com/office/drawing/2014/main" id="{FCF7C7F6-F883-D86B-B76C-FBF64AA4B031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85787" y="3259179"/>
            <a:ext cx="2593975" cy="930592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85" name="Текст 8">
            <a:extLst>
              <a:ext uri="{FF2B5EF4-FFF2-40B4-BE49-F238E27FC236}">
                <a16:creationId xmlns:a16="http://schemas.microsoft.com/office/drawing/2014/main" id="{5017FAA3-0D14-2F44-AE36-53755E128F9C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92821" y="2911825"/>
            <a:ext cx="2593975" cy="420096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ru-RU" dirty="0"/>
              <a:t>Название</a:t>
            </a:r>
          </a:p>
        </p:txBody>
      </p:sp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313625E7-4E08-E385-1092-6A0ED165763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/>
          <a:stretch/>
        </p:blipFill>
        <p:spPr>
          <a:xfrm>
            <a:off x="4647631" y="1991970"/>
            <a:ext cx="2880000" cy="2880000"/>
          </a:xfrm>
          <a:prstGeom prst="rect">
            <a:avLst/>
          </a:prstGeom>
        </p:spPr>
      </p:pic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1495ED8F-FE29-5DD0-524C-EF23FE97F9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4235006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нфографика_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ext Placeholder 7">
            <a:extLst>
              <a:ext uri="{FF2B5EF4-FFF2-40B4-BE49-F238E27FC236}">
                <a16:creationId xmlns:a16="http://schemas.microsoft.com/office/drawing/2014/main" id="{CED3827E-68A7-7FC8-99CF-14FFE14FAFE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836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71070ABC-9D4E-2591-9197-E32677939D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  <p:sp>
        <p:nvSpPr>
          <p:cNvPr id="2" name="Текст 8">
            <a:extLst>
              <a:ext uri="{FF2B5EF4-FFF2-40B4-BE49-F238E27FC236}">
                <a16:creationId xmlns:a16="http://schemas.microsoft.com/office/drawing/2014/main" id="{14F92532-C386-09FC-5806-891FB4EBD39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87375" y="4227639"/>
            <a:ext cx="2592388" cy="1479343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" name="Текст 8">
            <a:extLst>
              <a:ext uri="{FF2B5EF4-FFF2-40B4-BE49-F238E27FC236}">
                <a16:creationId xmlns:a16="http://schemas.microsoft.com/office/drawing/2014/main" id="{0B7497FC-F6A8-D552-0049-B81A8DDEDB0A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395663" y="4227639"/>
            <a:ext cx="2592388" cy="1479343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5" name="Текст 8">
            <a:extLst>
              <a:ext uri="{FF2B5EF4-FFF2-40B4-BE49-F238E27FC236}">
                <a16:creationId xmlns:a16="http://schemas.microsoft.com/office/drawing/2014/main" id="{2EDB06D2-4612-7DC9-112C-6289D0B550F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203950" y="4227639"/>
            <a:ext cx="2592387" cy="1479343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6" name="Текст 8">
            <a:extLst>
              <a:ext uri="{FF2B5EF4-FFF2-40B4-BE49-F238E27FC236}">
                <a16:creationId xmlns:a16="http://schemas.microsoft.com/office/drawing/2014/main" id="{DA1B87E0-8C64-EF25-8D5B-E66EFED7C86C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012235" y="4227639"/>
            <a:ext cx="2592389" cy="1479343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7" name="Рисунок 3">
            <a:extLst>
              <a:ext uri="{FF2B5EF4-FFF2-40B4-BE49-F238E27FC236}">
                <a16:creationId xmlns:a16="http://schemas.microsoft.com/office/drawing/2014/main" id="{899636BC-2FF6-C29D-B43F-C6582F723AEE}"/>
              </a:ext>
            </a:extLst>
          </p:cNvPr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912083" y="1377050"/>
            <a:ext cx="1944000" cy="1944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Рисунок</a:t>
            </a:r>
          </a:p>
        </p:txBody>
      </p:sp>
      <p:sp>
        <p:nvSpPr>
          <p:cNvPr id="8" name="Рисунок 3">
            <a:extLst>
              <a:ext uri="{FF2B5EF4-FFF2-40B4-BE49-F238E27FC236}">
                <a16:creationId xmlns:a16="http://schemas.microsoft.com/office/drawing/2014/main" id="{AB0555B1-DC78-14D9-8756-ED85C955CD0E}"/>
              </a:ext>
            </a:extLst>
          </p:cNvPr>
          <p:cNvSpPr>
            <a:spLocks noGrp="1" noChangeAspect="1"/>
          </p:cNvSpPr>
          <p:nvPr>
            <p:ph type="pic" sz="quarter" idx="57" hasCustomPrompt="1"/>
          </p:nvPr>
        </p:nvSpPr>
        <p:spPr>
          <a:xfrm>
            <a:off x="3714277" y="1377050"/>
            <a:ext cx="1944000" cy="1944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Рисунок</a:t>
            </a:r>
          </a:p>
        </p:txBody>
      </p:sp>
      <p:sp>
        <p:nvSpPr>
          <p:cNvPr id="9" name="Рисунок 3">
            <a:extLst>
              <a:ext uri="{FF2B5EF4-FFF2-40B4-BE49-F238E27FC236}">
                <a16:creationId xmlns:a16="http://schemas.microsoft.com/office/drawing/2014/main" id="{C0E9F73E-B6CB-711D-1C4C-0EE6AAA7C0E0}"/>
              </a:ext>
            </a:extLst>
          </p:cNvPr>
          <p:cNvSpPr>
            <a:spLocks noGrp="1" noChangeAspect="1"/>
          </p:cNvSpPr>
          <p:nvPr>
            <p:ph type="pic" sz="quarter" idx="58" hasCustomPrompt="1"/>
          </p:nvPr>
        </p:nvSpPr>
        <p:spPr>
          <a:xfrm>
            <a:off x="6518437" y="1377050"/>
            <a:ext cx="1944000" cy="1944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Рисунок</a:t>
            </a:r>
          </a:p>
        </p:txBody>
      </p:sp>
      <p:sp>
        <p:nvSpPr>
          <p:cNvPr id="10" name="Рисунок 3">
            <a:extLst>
              <a:ext uri="{FF2B5EF4-FFF2-40B4-BE49-F238E27FC236}">
                <a16:creationId xmlns:a16="http://schemas.microsoft.com/office/drawing/2014/main" id="{D6EB9130-2283-5D10-F4C2-D13E5503F50D}"/>
              </a:ext>
            </a:extLst>
          </p:cNvPr>
          <p:cNvSpPr>
            <a:spLocks noGrp="1" noChangeAspect="1"/>
          </p:cNvSpPr>
          <p:nvPr>
            <p:ph type="pic" sz="quarter" idx="59" hasCustomPrompt="1"/>
          </p:nvPr>
        </p:nvSpPr>
        <p:spPr>
          <a:xfrm>
            <a:off x="9322597" y="1377050"/>
            <a:ext cx="1944000" cy="1944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Рисунок</a:t>
            </a:r>
          </a:p>
        </p:txBody>
      </p:sp>
      <p:sp>
        <p:nvSpPr>
          <p:cNvPr id="11" name="Текст 8">
            <a:extLst>
              <a:ext uri="{FF2B5EF4-FFF2-40B4-BE49-F238E27FC236}">
                <a16:creationId xmlns:a16="http://schemas.microsoft.com/office/drawing/2014/main" id="{AE28B643-8571-596F-FFF6-8D020152CA33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87375" y="3584544"/>
            <a:ext cx="2592388" cy="384893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2" name="Текст 8">
            <a:extLst>
              <a:ext uri="{FF2B5EF4-FFF2-40B4-BE49-F238E27FC236}">
                <a16:creationId xmlns:a16="http://schemas.microsoft.com/office/drawing/2014/main" id="{658B8271-DE2E-5210-9582-6B42B108B44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396250" y="3584544"/>
            <a:ext cx="2592388" cy="384893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3" name="Текст 8">
            <a:extLst>
              <a:ext uri="{FF2B5EF4-FFF2-40B4-BE49-F238E27FC236}">
                <a16:creationId xmlns:a16="http://schemas.microsoft.com/office/drawing/2014/main" id="{98C7AB63-6D15-5737-8B39-7139E1EB4A69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205125" y="3584544"/>
            <a:ext cx="2592388" cy="384893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4" name="Текст 8">
            <a:extLst>
              <a:ext uri="{FF2B5EF4-FFF2-40B4-BE49-F238E27FC236}">
                <a16:creationId xmlns:a16="http://schemas.microsoft.com/office/drawing/2014/main" id="{62D93DD2-5156-A996-9081-DACE80FE0DAA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9014001" y="3584544"/>
            <a:ext cx="2592388" cy="384893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</p:spTree>
    <p:extLst>
      <p:ext uri="{BB962C8B-B14F-4D97-AF65-F5344CB8AC3E}">
        <p14:creationId xmlns:p14="http://schemas.microsoft.com/office/powerpoint/2010/main" val="27124948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_ДСП/КТ_синяя те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7">
            <a:extLst>
              <a:ext uri="{FF2B5EF4-FFF2-40B4-BE49-F238E27FC236}">
                <a16:creationId xmlns:a16="http://schemas.microsoft.com/office/drawing/2014/main" id="{9E9AB559-F3C8-0CAA-6627-E57E96CF06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78AE7E1-2E7A-B8FE-9D28-9F06CA63BE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34853" y="560564"/>
            <a:ext cx="3899288" cy="508953"/>
          </a:xfrm>
          <a:prstGeom prst="rect">
            <a:avLst/>
          </a:prstGeom>
        </p:spPr>
        <p:txBody>
          <a:bodyPr lIns="36000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3200" b="1" kern="1200" dirty="0">
                <a:solidFill>
                  <a:schemeClr val="bg1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r>
              <a:rPr lang="ru-RU" dirty="0"/>
              <a:t>ДСП / КТ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F341029-18C4-6119-E34F-31D39FD1FB6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34852" y="1088187"/>
            <a:ext cx="3899288" cy="225817"/>
          </a:xfrm>
          <a:prstGeom prst="rect">
            <a:avLst/>
          </a:prstGeom>
        </p:spPr>
        <p:txBody>
          <a:bodyPr lIns="36000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200" b="0" kern="1200" dirty="0">
                <a:solidFill>
                  <a:schemeClr val="bg1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r>
              <a:rPr lang="ru-RU" dirty="0"/>
              <a:t>Экз.</a:t>
            </a:r>
          </a:p>
        </p:txBody>
      </p:sp>
      <p:pic>
        <p:nvPicPr>
          <p:cNvPr id="10" name="Рисунок 9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A32D0DF8-42A7-BA34-0118-9ABB4770ED3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90550" y="514762"/>
            <a:ext cx="2872877" cy="864000"/>
          </a:xfrm>
          <a:prstGeom prst="rect">
            <a:avLst/>
          </a:prstGeom>
        </p:spPr>
      </p:pic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1092BDB-945D-8FC6-6C43-16BB1C8879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0563" y="5070502"/>
            <a:ext cx="8205775" cy="2734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kern="1200" dirty="0">
                <a:solidFill>
                  <a:schemeClr val="bg1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r>
              <a:rPr lang="ru-RU" dirty="0"/>
              <a:t>Наименование мероприятия / название площадки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14FE9B6-C860-3F71-2F92-4E17BC9666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4" y="1376363"/>
            <a:ext cx="8216901" cy="3673475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100000"/>
              </a:lnSpc>
              <a:defRPr lang="en-US" sz="4200" b="1" kern="1200" baseline="0" dirty="0">
                <a:solidFill>
                  <a:schemeClr val="bg1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r>
              <a:rPr lang="ru-RU" dirty="0"/>
              <a:t>Тема презентации</a:t>
            </a:r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1CBA661-1F7F-BA43-CFF2-0983922317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526907"/>
            <a:ext cx="6337300" cy="2734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600" b="1" kern="1200" dirty="0">
                <a:solidFill>
                  <a:schemeClr val="bg1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r>
              <a:rPr lang="ru-RU" dirty="0"/>
              <a:t>ФИО</a:t>
            </a:r>
            <a:endParaRPr lang="en-US" dirty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2CAF505C-3183-9D04-4B77-A36C15D4672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6" y="5693589"/>
            <a:ext cx="6337300" cy="27349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kern="1200" dirty="0">
                <a:solidFill>
                  <a:schemeClr val="bg1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r>
              <a:rPr lang="ru-RU" dirty="0"/>
              <a:t>Должность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3E85B5F-A643-D18E-6998-E15C7F1D06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6" y="6149263"/>
            <a:ext cx="5400674" cy="2516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1" kern="1200" dirty="0">
                <a:solidFill>
                  <a:schemeClr val="bg1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r>
              <a:rPr lang="ru-RU" dirty="0"/>
              <a:t>00.00.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9738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414" userDrawn="1">
          <p15:clr>
            <a:srgbClr val="FBAE40"/>
          </p15:clr>
        </p15:guide>
        <p15:guide id="15" orient="horz" pos="777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нфографика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3">
            <a:extLst>
              <a:ext uri="{FF2B5EF4-FFF2-40B4-BE49-F238E27FC236}">
                <a16:creationId xmlns:a16="http://schemas.microsoft.com/office/drawing/2014/main" id="{9DE13987-364C-76AA-EB2A-A51B0CCC16FD}"/>
              </a:ext>
            </a:extLst>
          </p:cNvPr>
          <p:cNvSpPr/>
          <p:nvPr userDrawn="1"/>
        </p:nvSpPr>
        <p:spPr>
          <a:xfrm>
            <a:off x="801143" y="2032897"/>
            <a:ext cx="2159999" cy="36734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kern="0">
              <a:solidFill>
                <a:schemeClr val="bg1"/>
              </a:solidFill>
            </a:endParaRPr>
          </a:p>
        </p:txBody>
      </p:sp>
      <p:sp>
        <p:nvSpPr>
          <p:cNvPr id="23" name="Текст 8">
            <a:extLst>
              <a:ext uri="{FF2B5EF4-FFF2-40B4-BE49-F238E27FC236}">
                <a16:creationId xmlns:a16="http://schemas.microsoft.com/office/drawing/2014/main" id="{85D68F00-F094-6589-AE91-CC88571F290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54823" y="2720343"/>
            <a:ext cx="1850370" cy="53097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24" name="Текст 8">
            <a:extLst>
              <a:ext uri="{FF2B5EF4-FFF2-40B4-BE49-F238E27FC236}">
                <a16:creationId xmlns:a16="http://schemas.microsoft.com/office/drawing/2014/main" id="{014101D5-B562-42F1-6446-8C5CC89DC29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54823" y="3385090"/>
            <a:ext cx="1850370" cy="2096548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456F2A94-34C9-88A8-153F-5441360022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836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46" name="Rectangle 3">
            <a:extLst>
              <a:ext uri="{FF2B5EF4-FFF2-40B4-BE49-F238E27FC236}">
                <a16:creationId xmlns:a16="http://schemas.microsoft.com/office/drawing/2014/main" id="{3EFD5EDE-F7F3-1196-DF20-FC28ECC25506}"/>
              </a:ext>
            </a:extLst>
          </p:cNvPr>
          <p:cNvSpPr/>
          <p:nvPr userDrawn="1"/>
        </p:nvSpPr>
        <p:spPr>
          <a:xfrm>
            <a:off x="3619741" y="2032897"/>
            <a:ext cx="2159999" cy="36734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kern="0">
              <a:solidFill>
                <a:schemeClr val="bg1"/>
              </a:solidFill>
            </a:endParaRPr>
          </a:p>
        </p:txBody>
      </p:sp>
      <p:sp>
        <p:nvSpPr>
          <p:cNvPr id="48" name="Текст 8">
            <a:extLst>
              <a:ext uri="{FF2B5EF4-FFF2-40B4-BE49-F238E27FC236}">
                <a16:creationId xmlns:a16="http://schemas.microsoft.com/office/drawing/2014/main" id="{71B37C69-4A58-D617-FE76-9265C887C1C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773421" y="2720343"/>
            <a:ext cx="1850370" cy="53097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9" name="Текст 8">
            <a:extLst>
              <a:ext uri="{FF2B5EF4-FFF2-40B4-BE49-F238E27FC236}">
                <a16:creationId xmlns:a16="http://schemas.microsoft.com/office/drawing/2014/main" id="{71577A34-BE4C-3CBD-3942-2884208DF43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773421" y="3385090"/>
            <a:ext cx="1850370" cy="2096548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51" name="Rectangle 3">
            <a:extLst>
              <a:ext uri="{FF2B5EF4-FFF2-40B4-BE49-F238E27FC236}">
                <a16:creationId xmlns:a16="http://schemas.microsoft.com/office/drawing/2014/main" id="{744B18D7-9F2C-F624-07AE-8F794B8B58BA}"/>
              </a:ext>
            </a:extLst>
          </p:cNvPr>
          <p:cNvSpPr/>
          <p:nvPr userDrawn="1"/>
        </p:nvSpPr>
        <p:spPr>
          <a:xfrm>
            <a:off x="6419088" y="2032897"/>
            <a:ext cx="2159999" cy="367347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kern="0">
              <a:solidFill>
                <a:schemeClr val="bg1"/>
              </a:solidFill>
            </a:endParaRPr>
          </a:p>
        </p:txBody>
      </p:sp>
      <p:sp>
        <p:nvSpPr>
          <p:cNvPr id="53" name="Текст 8">
            <a:extLst>
              <a:ext uri="{FF2B5EF4-FFF2-40B4-BE49-F238E27FC236}">
                <a16:creationId xmlns:a16="http://schemas.microsoft.com/office/drawing/2014/main" id="{A18C10EA-5D83-4175-73E3-7CF9A172866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572768" y="2720343"/>
            <a:ext cx="1850370" cy="53097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54" name="Текст 8">
            <a:extLst>
              <a:ext uri="{FF2B5EF4-FFF2-40B4-BE49-F238E27FC236}">
                <a16:creationId xmlns:a16="http://schemas.microsoft.com/office/drawing/2014/main" id="{172325A0-1469-F721-7C3B-8699A42A185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572768" y="3385090"/>
            <a:ext cx="1850370" cy="2096548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55" name="Рисунок 2">
            <a:extLst>
              <a:ext uri="{FF2B5EF4-FFF2-40B4-BE49-F238E27FC236}">
                <a16:creationId xmlns:a16="http://schemas.microsoft.com/office/drawing/2014/main" id="{63EBD2FD-5882-B5AD-160D-0BBA191906EB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7071221" y="1596279"/>
            <a:ext cx="864870" cy="864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56" name="Rectangle 3">
            <a:extLst>
              <a:ext uri="{FF2B5EF4-FFF2-40B4-BE49-F238E27FC236}">
                <a16:creationId xmlns:a16="http://schemas.microsoft.com/office/drawing/2014/main" id="{C7D8B404-EFFE-38C1-E085-45E006908030}"/>
              </a:ext>
            </a:extLst>
          </p:cNvPr>
          <p:cNvSpPr/>
          <p:nvPr userDrawn="1"/>
        </p:nvSpPr>
        <p:spPr>
          <a:xfrm>
            <a:off x="9226457" y="2032897"/>
            <a:ext cx="2159999" cy="367347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kern="0">
              <a:solidFill>
                <a:schemeClr val="bg1"/>
              </a:solidFill>
            </a:endParaRPr>
          </a:p>
        </p:txBody>
      </p:sp>
      <p:sp>
        <p:nvSpPr>
          <p:cNvPr id="59" name="Текст 8">
            <a:extLst>
              <a:ext uri="{FF2B5EF4-FFF2-40B4-BE49-F238E27FC236}">
                <a16:creationId xmlns:a16="http://schemas.microsoft.com/office/drawing/2014/main" id="{05059EC0-79AC-07B1-854F-6515C709C2D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380137" y="2720343"/>
            <a:ext cx="1850370" cy="53097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60" name="Текст 8">
            <a:extLst>
              <a:ext uri="{FF2B5EF4-FFF2-40B4-BE49-F238E27FC236}">
                <a16:creationId xmlns:a16="http://schemas.microsoft.com/office/drawing/2014/main" id="{F1A99F55-D717-31BC-FEDF-DB33401CB25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380137" y="3385090"/>
            <a:ext cx="1850370" cy="2096548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80" name="Рисунок 2">
            <a:extLst>
              <a:ext uri="{FF2B5EF4-FFF2-40B4-BE49-F238E27FC236}">
                <a16:creationId xmlns:a16="http://schemas.microsoft.com/office/drawing/2014/main" id="{5C29FB5C-3EEC-EDE0-31E1-D06F16401871}"/>
              </a:ext>
            </a:extLst>
          </p:cNvPr>
          <p:cNvSpPr>
            <a:spLocks noGrp="1" noChangeAspect="1"/>
          </p:cNvSpPr>
          <p:nvPr>
            <p:ph type="pic" sz="quarter" idx="40"/>
          </p:nvPr>
        </p:nvSpPr>
        <p:spPr>
          <a:xfrm>
            <a:off x="9874933" y="1596279"/>
            <a:ext cx="864870" cy="864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81" name="Рисунок 2">
            <a:extLst>
              <a:ext uri="{FF2B5EF4-FFF2-40B4-BE49-F238E27FC236}">
                <a16:creationId xmlns:a16="http://schemas.microsoft.com/office/drawing/2014/main" id="{95CC5E9D-3ED6-584F-06D1-50556AC51D91}"/>
              </a:ext>
            </a:extLst>
          </p:cNvPr>
          <p:cNvSpPr>
            <a:spLocks noGrp="1" noChangeAspect="1"/>
          </p:cNvSpPr>
          <p:nvPr>
            <p:ph type="pic" sz="quarter" idx="41"/>
          </p:nvPr>
        </p:nvSpPr>
        <p:spPr>
          <a:xfrm>
            <a:off x="4260786" y="1596279"/>
            <a:ext cx="864870" cy="864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82" name="Рисунок 2">
            <a:extLst>
              <a:ext uri="{FF2B5EF4-FFF2-40B4-BE49-F238E27FC236}">
                <a16:creationId xmlns:a16="http://schemas.microsoft.com/office/drawing/2014/main" id="{015E80E5-EB3E-FD99-8BD8-0A65531A99B6}"/>
              </a:ext>
            </a:extLst>
          </p:cNvPr>
          <p:cNvSpPr>
            <a:spLocks noGrp="1" noChangeAspect="1"/>
          </p:cNvSpPr>
          <p:nvPr>
            <p:ph type="pic" sz="quarter" idx="42"/>
          </p:nvPr>
        </p:nvSpPr>
        <p:spPr>
          <a:xfrm>
            <a:off x="1457076" y="1596279"/>
            <a:ext cx="864870" cy="864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7246134D-C2BF-7299-2416-21A02CAB84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29551503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нфографика_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Текст 8">
            <a:extLst>
              <a:ext uri="{FF2B5EF4-FFF2-40B4-BE49-F238E27FC236}">
                <a16:creationId xmlns:a16="http://schemas.microsoft.com/office/drawing/2014/main" id="{9FE852D9-E030-61EB-50AC-D445DAC243F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87375" y="3104623"/>
            <a:ext cx="2908494" cy="641139"/>
          </a:xfrm>
          <a:prstGeom prst="homePlate">
            <a:avLst/>
          </a:prstGeom>
          <a:solidFill>
            <a:schemeClr val="accent1"/>
          </a:solidFill>
        </p:spPr>
        <p:txBody>
          <a:bodyPr lIns="0" tIns="0" rIns="0" b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24" name="Текст 8">
            <a:extLst>
              <a:ext uri="{FF2B5EF4-FFF2-40B4-BE49-F238E27FC236}">
                <a16:creationId xmlns:a16="http://schemas.microsoft.com/office/drawing/2014/main" id="{2153118B-75EB-10D1-9C23-CA385ED97AE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87376" y="1637758"/>
            <a:ext cx="2592388" cy="124440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28" name="Текст 8">
            <a:extLst>
              <a:ext uri="{FF2B5EF4-FFF2-40B4-BE49-F238E27FC236}">
                <a16:creationId xmlns:a16="http://schemas.microsoft.com/office/drawing/2014/main" id="{3092EDC6-3D2E-8504-91E9-401DDAFD670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014164" y="5341571"/>
            <a:ext cx="2590461" cy="367397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35" name="Рисунок 2">
            <a:extLst>
              <a:ext uri="{FF2B5EF4-FFF2-40B4-BE49-F238E27FC236}">
                <a16:creationId xmlns:a16="http://schemas.microsoft.com/office/drawing/2014/main" id="{38483C77-8AA3-C3C7-FFAA-350B8EC170C0}"/>
              </a:ext>
            </a:extLst>
          </p:cNvPr>
          <p:cNvSpPr>
            <a:spLocks noGrp="1" noChangeAspect="1"/>
          </p:cNvSpPr>
          <p:nvPr>
            <p:ph type="pic" sz="quarter" idx="46"/>
          </p:nvPr>
        </p:nvSpPr>
        <p:spPr>
          <a:xfrm>
            <a:off x="9894977" y="4186012"/>
            <a:ext cx="828833" cy="827999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39" name="Текст 8">
            <a:extLst>
              <a:ext uri="{FF2B5EF4-FFF2-40B4-BE49-F238E27FC236}">
                <a16:creationId xmlns:a16="http://schemas.microsoft.com/office/drawing/2014/main" id="{81DAFB42-93B8-DAED-4CAC-13F37F3B2C0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398436" y="3104623"/>
            <a:ext cx="2907647" cy="641138"/>
          </a:xfrm>
          <a:prstGeom prst="chevron">
            <a:avLst/>
          </a:prstGeom>
          <a:solidFill>
            <a:schemeClr val="accent2"/>
          </a:solidFill>
        </p:spPr>
        <p:txBody>
          <a:bodyPr lIns="0" tIns="0" rIns="0" b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0" name="Текст 8">
            <a:extLst>
              <a:ext uri="{FF2B5EF4-FFF2-40B4-BE49-F238E27FC236}">
                <a16:creationId xmlns:a16="http://schemas.microsoft.com/office/drawing/2014/main" id="{E35C138D-EEF1-F79D-62F7-861875CF336B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203950" y="3104283"/>
            <a:ext cx="2907646" cy="641480"/>
          </a:xfrm>
          <a:prstGeom prst="chevron">
            <a:avLst/>
          </a:prstGeom>
          <a:solidFill>
            <a:schemeClr val="bg1">
              <a:lumMod val="50000"/>
            </a:schemeClr>
          </a:solidFill>
        </p:spPr>
        <p:txBody>
          <a:bodyPr lIns="0" tIns="0" rIns="0" b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2" name="Текст 8">
            <a:extLst>
              <a:ext uri="{FF2B5EF4-FFF2-40B4-BE49-F238E27FC236}">
                <a16:creationId xmlns:a16="http://schemas.microsoft.com/office/drawing/2014/main" id="{7624F5A1-2610-024F-121F-428FB361E88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014164" y="3104283"/>
            <a:ext cx="2590461" cy="641480"/>
          </a:xfrm>
          <a:prstGeom prst="chevron">
            <a:avLst/>
          </a:prstGeom>
          <a:solidFill>
            <a:schemeClr val="accent3"/>
          </a:solidFill>
        </p:spPr>
        <p:txBody>
          <a:bodyPr lIns="0" tIns="0" rIns="0" b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163A79C1-056D-E424-4C14-D8DDA6A5BE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836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44" name="Текст 8">
            <a:extLst>
              <a:ext uri="{FF2B5EF4-FFF2-40B4-BE49-F238E27FC236}">
                <a16:creationId xmlns:a16="http://schemas.microsoft.com/office/drawing/2014/main" id="{42238CC0-652B-5225-0B6D-4C4AEDE88875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401459" y="1637758"/>
            <a:ext cx="2592388" cy="124440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6" name="Текст 8">
            <a:extLst>
              <a:ext uri="{FF2B5EF4-FFF2-40B4-BE49-F238E27FC236}">
                <a16:creationId xmlns:a16="http://schemas.microsoft.com/office/drawing/2014/main" id="{A1E2D607-8F05-CD1A-B836-8485C472CA47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208455" y="1637758"/>
            <a:ext cx="2592388" cy="124440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7" name="Текст 8">
            <a:extLst>
              <a:ext uri="{FF2B5EF4-FFF2-40B4-BE49-F238E27FC236}">
                <a16:creationId xmlns:a16="http://schemas.microsoft.com/office/drawing/2014/main" id="{6E728BE2-9B72-A9E7-378E-4B5AB8133BD6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9015450" y="1637758"/>
            <a:ext cx="2592388" cy="124440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8" name="Текст 8">
            <a:extLst>
              <a:ext uri="{FF2B5EF4-FFF2-40B4-BE49-F238E27FC236}">
                <a16:creationId xmlns:a16="http://schemas.microsoft.com/office/drawing/2014/main" id="{DD9EFC67-4A60-1697-4307-A0B47F5AAC83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00625" y="5341571"/>
            <a:ext cx="2590461" cy="367397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9" name="Рисунок 2">
            <a:extLst>
              <a:ext uri="{FF2B5EF4-FFF2-40B4-BE49-F238E27FC236}">
                <a16:creationId xmlns:a16="http://schemas.microsoft.com/office/drawing/2014/main" id="{A0362FB7-36C5-B94D-9E73-BF8F86477C39}"/>
              </a:ext>
            </a:extLst>
          </p:cNvPr>
          <p:cNvSpPr>
            <a:spLocks noGrp="1" noChangeAspect="1"/>
          </p:cNvSpPr>
          <p:nvPr>
            <p:ph type="pic" sz="quarter" idx="57"/>
          </p:nvPr>
        </p:nvSpPr>
        <p:spPr>
          <a:xfrm>
            <a:off x="7081438" y="4186012"/>
            <a:ext cx="828833" cy="827999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50" name="Текст 8">
            <a:extLst>
              <a:ext uri="{FF2B5EF4-FFF2-40B4-BE49-F238E27FC236}">
                <a16:creationId xmlns:a16="http://schemas.microsoft.com/office/drawing/2014/main" id="{C656333B-70D6-93F1-1080-DC45B7391821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398810" y="5341571"/>
            <a:ext cx="2590461" cy="367397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51" name="Рисунок 2">
            <a:extLst>
              <a:ext uri="{FF2B5EF4-FFF2-40B4-BE49-F238E27FC236}">
                <a16:creationId xmlns:a16="http://schemas.microsoft.com/office/drawing/2014/main" id="{B83D1DA7-4E9D-EFCC-1169-633F7221AE5D}"/>
              </a:ext>
            </a:extLst>
          </p:cNvPr>
          <p:cNvSpPr>
            <a:spLocks noGrp="1" noChangeAspect="1"/>
          </p:cNvSpPr>
          <p:nvPr>
            <p:ph type="pic" sz="quarter" idx="59"/>
          </p:nvPr>
        </p:nvSpPr>
        <p:spPr>
          <a:xfrm>
            <a:off x="4279623" y="4186012"/>
            <a:ext cx="828833" cy="827999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52" name="Текст 8">
            <a:extLst>
              <a:ext uri="{FF2B5EF4-FFF2-40B4-BE49-F238E27FC236}">
                <a16:creationId xmlns:a16="http://schemas.microsoft.com/office/drawing/2014/main" id="{3E2F7EBC-4C2D-D64D-5F9C-787181EC0847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85272" y="5341571"/>
            <a:ext cx="2590461" cy="367397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53" name="Рисунок 2">
            <a:extLst>
              <a:ext uri="{FF2B5EF4-FFF2-40B4-BE49-F238E27FC236}">
                <a16:creationId xmlns:a16="http://schemas.microsoft.com/office/drawing/2014/main" id="{730D663F-16DD-E3E5-46F5-9C7CD09E5706}"/>
              </a:ext>
            </a:extLst>
          </p:cNvPr>
          <p:cNvSpPr>
            <a:spLocks noGrp="1" noChangeAspect="1"/>
          </p:cNvSpPr>
          <p:nvPr>
            <p:ph type="pic" sz="quarter" idx="61"/>
          </p:nvPr>
        </p:nvSpPr>
        <p:spPr>
          <a:xfrm>
            <a:off x="1466085" y="4186012"/>
            <a:ext cx="828833" cy="827999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3716AFD5-89C5-584C-1377-3077FED6FF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10982882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нфографика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Текст 8">
            <a:extLst>
              <a:ext uri="{FF2B5EF4-FFF2-40B4-BE49-F238E27FC236}">
                <a16:creationId xmlns:a16="http://schemas.microsoft.com/office/drawing/2014/main" id="{F395A374-A868-6B32-D755-C5D9919938D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61533" y="1808163"/>
            <a:ext cx="4089892" cy="433387"/>
          </a:xfrm>
          <a:prstGeom prst="homePlate">
            <a:avLst/>
          </a:prstGeom>
          <a:solidFill>
            <a:schemeClr val="accent1"/>
          </a:solidFill>
        </p:spPr>
        <p:txBody>
          <a:bodyPr lIns="576000" tIns="0" rIns="0" bIns="0" anchor="ctr"/>
          <a:lstStyle>
            <a:lvl1pPr marL="0" indent="0" algn="l">
              <a:buNone/>
              <a:defRPr lang="ru-RU" sz="14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46" name="Рисунок 2">
            <a:extLst>
              <a:ext uri="{FF2B5EF4-FFF2-40B4-BE49-F238E27FC236}">
                <a16:creationId xmlns:a16="http://schemas.microsoft.com/office/drawing/2014/main" id="{497D6BEE-01A9-A144-060A-28B360E34637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597670" y="1661500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50" name="Текст 8">
            <a:extLst>
              <a:ext uri="{FF2B5EF4-FFF2-40B4-BE49-F238E27FC236}">
                <a16:creationId xmlns:a16="http://schemas.microsoft.com/office/drawing/2014/main" id="{3F654C97-DDCA-E785-F389-3F180A12E70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140574" y="1808163"/>
            <a:ext cx="4453755" cy="4333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54" name="Текст 8">
            <a:extLst>
              <a:ext uri="{FF2B5EF4-FFF2-40B4-BE49-F238E27FC236}">
                <a16:creationId xmlns:a16="http://schemas.microsoft.com/office/drawing/2014/main" id="{5B60A130-8DFA-18A2-C6C0-28EC3FAA4943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267325" y="1808163"/>
            <a:ext cx="1657350" cy="4333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3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55" name="Text Placeholder 7">
            <a:extLst>
              <a:ext uri="{FF2B5EF4-FFF2-40B4-BE49-F238E27FC236}">
                <a16:creationId xmlns:a16="http://schemas.microsoft.com/office/drawing/2014/main" id="{A2636C7A-F703-F23A-A025-3F4D9F8944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836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56" name="Текст 8">
            <a:extLst>
              <a:ext uri="{FF2B5EF4-FFF2-40B4-BE49-F238E27FC236}">
                <a16:creationId xmlns:a16="http://schemas.microsoft.com/office/drawing/2014/main" id="{2D301294-D214-166C-79B3-12FF4D7F9D77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61533" y="2676264"/>
            <a:ext cx="4089892" cy="433387"/>
          </a:xfrm>
          <a:prstGeom prst="homePlate">
            <a:avLst/>
          </a:prstGeom>
          <a:solidFill>
            <a:schemeClr val="accent2"/>
          </a:solidFill>
        </p:spPr>
        <p:txBody>
          <a:bodyPr lIns="576000" tIns="0" rIns="0" bIns="0" anchor="ctr"/>
          <a:lstStyle>
            <a:lvl1pPr marL="0" indent="0" algn="l">
              <a:buNone/>
              <a:defRPr lang="ru-RU" sz="14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58" name="Рисунок 2">
            <a:extLst>
              <a:ext uri="{FF2B5EF4-FFF2-40B4-BE49-F238E27FC236}">
                <a16:creationId xmlns:a16="http://schemas.microsoft.com/office/drawing/2014/main" id="{A79ED0D0-9277-ECB8-FF9E-11057AA781A6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597670" y="2529601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59" name="Текст 8">
            <a:extLst>
              <a:ext uri="{FF2B5EF4-FFF2-40B4-BE49-F238E27FC236}">
                <a16:creationId xmlns:a16="http://schemas.microsoft.com/office/drawing/2014/main" id="{1ECDF0F1-52F3-808B-8304-9D96F3C5DC0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40574" y="2676264"/>
            <a:ext cx="4453755" cy="4333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60" name="Текст 8">
            <a:extLst>
              <a:ext uri="{FF2B5EF4-FFF2-40B4-BE49-F238E27FC236}">
                <a16:creationId xmlns:a16="http://schemas.microsoft.com/office/drawing/2014/main" id="{043B45A4-2F2B-185B-B6B6-D8BF514240A9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267325" y="2676264"/>
            <a:ext cx="1657350" cy="4333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3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61" name="Текст 8">
            <a:extLst>
              <a:ext uri="{FF2B5EF4-FFF2-40B4-BE49-F238E27FC236}">
                <a16:creationId xmlns:a16="http://schemas.microsoft.com/office/drawing/2014/main" id="{01EF81FA-7B35-3E56-683C-EB996E02280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961533" y="3538578"/>
            <a:ext cx="4089892" cy="433387"/>
          </a:xfrm>
          <a:prstGeom prst="homePlate">
            <a:avLst/>
          </a:prstGeom>
          <a:solidFill>
            <a:schemeClr val="bg1">
              <a:lumMod val="50000"/>
            </a:schemeClr>
          </a:solidFill>
        </p:spPr>
        <p:txBody>
          <a:bodyPr lIns="576000" tIns="0" rIns="0" bIns="0" anchor="ctr"/>
          <a:lstStyle>
            <a:lvl1pPr marL="0" indent="0" algn="l">
              <a:buNone/>
              <a:defRPr lang="ru-RU" sz="14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63" name="Рисунок 2">
            <a:extLst>
              <a:ext uri="{FF2B5EF4-FFF2-40B4-BE49-F238E27FC236}">
                <a16:creationId xmlns:a16="http://schemas.microsoft.com/office/drawing/2014/main" id="{6BE70D0A-19E6-BA04-2D8D-3CD111399D19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597670" y="3391915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64" name="Текст 8">
            <a:extLst>
              <a:ext uri="{FF2B5EF4-FFF2-40B4-BE49-F238E27FC236}">
                <a16:creationId xmlns:a16="http://schemas.microsoft.com/office/drawing/2014/main" id="{3E27D98F-AA50-062D-1117-788D934AC446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140574" y="3538578"/>
            <a:ext cx="4453755" cy="4333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65" name="Текст 8">
            <a:extLst>
              <a:ext uri="{FF2B5EF4-FFF2-40B4-BE49-F238E27FC236}">
                <a16:creationId xmlns:a16="http://schemas.microsoft.com/office/drawing/2014/main" id="{F6EF98B1-6E9C-E54E-7902-A97AF0F244CC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267325" y="3538578"/>
            <a:ext cx="1657350" cy="4333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3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66" name="Текст 8">
            <a:extLst>
              <a:ext uri="{FF2B5EF4-FFF2-40B4-BE49-F238E27FC236}">
                <a16:creationId xmlns:a16="http://schemas.microsoft.com/office/drawing/2014/main" id="{ACFD6245-4DCF-65A8-11A5-BC834B7603F8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61533" y="4400892"/>
            <a:ext cx="4089892" cy="433387"/>
          </a:xfrm>
          <a:prstGeom prst="homePlate">
            <a:avLst/>
          </a:prstGeom>
          <a:solidFill>
            <a:schemeClr val="accent3"/>
          </a:solidFill>
        </p:spPr>
        <p:txBody>
          <a:bodyPr lIns="576000" tIns="0" rIns="0" bIns="0" anchor="ctr"/>
          <a:lstStyle>
            <a:lvl1pPr marL="0" indent="0" algn="l">
              <a:buNone/>
              <a:defRPr lang="ru-RU" sz="14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68" name="Рисунок 2">
            <a:extLst>
              <a:ext uri="{FF2B5EF4-FFF2-40B4-BE49-F238E27FC236}">
                <a16:creationId xmlns:a16="http://schemas.microsoft.com/office/drawing/2014/main" id="{8ABB4B86-9ECE-B6B5-8FC7-0702A42838BE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597670" y="4254229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69" name="Текст 8">
            <a:extLst>
              <a:ext uri="{FF2B5EF4-FFF2-40B4-BE49-F238E27FC236}">
                <a16:creationId xmlns:a16="http://schemas.microsoft.com/office/drawing/2014/main" id="{C59B4278-486C-6FB8-8B1F-E72F89C5733B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7140574" y="4400892"/>
            <a:ext cx="4453755" cy="4333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70" name="Текст 8">
            <a:extLst>
              <a:ext uri="{FF2B5EF4-FFF2-40B4-BE49-F238E27FC236}">
                <a16:creationId xmlns:a16="http://schemas.microsoft.com/office/drawing/2014/main" id="{3E1540A4-FD21-ED58-6900-87F485A6F28F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267325" y="4400892"/>
            <a:ext cx="1657350" cy="4333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3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71" name="Текст 8">
            <a:extLst>
              <a:ext uri="{FF2B5EF4-FFF2-40B4-BE49-F238E27FC236}">
                <a16:creationId xmlns:a16="http://schemas.microsoft.com/office/drawing/2014/main" id="{7DE454E6-B544-96E4-CF73-7DF2C89801FF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61533" y="5268993"/>
            <a:ext cx="4089892" cy="433387"/>
          </a:xfrm>
          <a:prstGeom prst="homePlate">
            <a:avLst/>
          </a:prstGeom>
          <a:solidFill>
            <a:schemeClr val="accent4"/>
          </a:solidFill>
        </p:spPr>
        <p:txBody>
          <a:bodyPr lIns="576000" tIns="0" rIns="0" bIns="0" anchor="ctr"/>
          <a:lstStyle>
            <a:lvl1pPr marL="0" indent="0" algn="l">
              <a:buNone/>
              <a:defRPr lang="ru-RU" sz="14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81" name="Рисунок 2">
            <a:extLst>
              <a:ext uri="{FF2B5EF4-FFF2-40B4-BE49-F238E27FC236}">
                <a16:creationId xmlns:a16="http://schemas.microsoft.com/office/drawing/2014/main" id="{36DB6306-4211-1878-EB18-BE020D4ED532}"/>
              </a:ext>
            </a:extLst>
          </p:cNvPr>
          <p:cNvSpPr>
            <a:spLocks noGrp="1" noChangeAspect="1"/>
          </p:cNvSpPr>
          <p:nvPr>
            <p:ph type="pic" sz="quarter" idx="62"/>
          </p:nvPr>
        </p:nvSpPr>
        <p:spPr>
          <a:xfrm>
            <a:off x="597670" y="5122330"/>
            <a:ext cx="720000" cy="7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82" name="Текст 8">
            <a:extLst>
              <a:ext uri="{FF2B5EF4-FFF2-40B4-BE49-F238E27FC236}">
                <a16:creationId xmlns:a16="http://schemas.microsoft.com/office/drawing/2014/main" id="{1BC12BA5-1B2E-5DC9-B579-AB645D7B6F1A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7140574" y="5268993"/>
            <a:ext cx="4453755" cy="4333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83" name="Текст 8">
            <a:extLst>
              <a:ext uri="{FF2B5EF4-FFF2-40B4-BE49-F238E27FC236}">
                <a16:creationId xmlns:a16="http://schemas.microsoft.com/office/drawing/2014/main" id="{3E309DB7-FC7C-70F7-E073-698AC1659757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267325" y="5268993"/>
            <a:ext cx="1657350" cy="4333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3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4029B662-237D-3EFA-C516-6007F4622E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22262481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нфографика_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7D99776B-61AB-484C-BF72-5AFE38A0D4E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836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26" name="Текст 8">
            <a:extLst>
              <a:ext uri="{FF2B5EF4-FFF2-40B4-BE49-F238E27FC236}">
                <a16:creationId xmlns:a16="http://schemas.microsoft.com/office/drawing/2014/main" id="{5226556D-0BB7-E35E-882F-40C78C0BB36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66439" y="1599925"/>
            <a:ext cx="5958236" cy="641626"/>
          </a:xfrm>
          <a:prstGeom prst="homePlate">
            <a:avLst/>
          </a:prstGeom>
          <a:solidFill>
            <a:schemeClr val="accent1"/>
          </a:solidFill>
        </p:spPr>
        <p:txBody>
          <a:bodyPr lIns="576000" tIns="0" rIns="0" bIns="0" anchor="ctr"/>
          <a:lstStyle>
            <a:lvl1pPr marL="0" indent="0" algn="l">
              <a:buNone/>
              <a:defRPr lang="ru-RU" sz="14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37" name="Рисунок 2">
            <a:extLst>
              <a:ext uri="{FF2B5EF4-FFF2-40B4-BE49-F238E27FC236}">
                <a16:creationId xmlns:a16="http://schemas.microsoft.com/office/drawing/2014/main" id="{3B9ED78C-052D-74E9-5762-6C57AAED05E9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599607" y="1552967"/>
            <a:ext cx="720000" cy="7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41" name="Текст 8">
            <a:extLst>
              <a:ext uri="{FF2B5EF4-FFF2-40B4-BE49-F238E27FC236}">
                <a16:creationId xmlns:a16="http://schemas.microsoft.com/office/drawing/2014/main" id="{0D9F332A-B46B-33FA-3B35-838E4047C94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140575" y="1592264"/>
            <a:ext cx="4464050" cy="64928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2" name="Текст 8">
            <a:extLst>
              <a:ext uri="{FF2B5EF4-FFF2-40B4-BE49-F238E27FC236}">
                <a16:creationId xmlns:a16="http://schemas.microsoft.com/office/drawing/2014/main" id="{0D4BC883-A5E3-849B-02EA-8306B924F702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66439" y="2686072"/>
            <a:ext cx="5958236" cy="641626"/>
          </a:xfrm>
          <a:prstGeom prst="homePlate">
            <a:avLst/>
          </a:prstGeom>
          <a:solidFill>
            <a:schemeClr val="accent2"/>
          </a:solidFill>
        </p:spPr>
        <p:txBody>
          <a:bodyPr lIns="576000" tIns="0" rIns="0" bIns="0" anchor="ctr"/>
          <a:lstStyle>
            <a:lvl1pPr marL="0" indent="0" algn="l">
              <a:buNone/>
              <a:defRPr lang="ru-RU" sz="14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44" name="Рисунок 2">
            <a:extLst>
              <a:ext uri="{FF2B5EF4-FFF2-40B4-BE49-F238E27FC236}">
                <a16:creationId xmlns:a16="http://schemas.microsoft.com/office/drawing/2014/main" id="{84304502-457B-9580-CEAB-59D146F39832}"/>
              </a:ext>
            </a:extLst>
          </p:cNvPr>
          <p:cNvSpPr>
            <a:spLocks noGrp="1" noChangeAspect="1"/>
          </p:cNvSpPr>
          <p:nvPr>
            <p:ph type="pic" sz="quarter" idx="46"/>
          </p:nvPr>
        </p:nvSpPr>
        <p:spPr>
          <a:xfrm>
            <a:off x="599607" y="2627684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45" name="Текст 8">
            <a:extLst>
              <a:ext uri="{FF2B5EF4-FFF2-40B4-BE49-F238E27FC236}">
                <a16:creationId xmlns:a16="http://schemas.microsoft.com/office/drawing/2014/main" id="{453C852E-08D0-0790-8972-A6A295B37B62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7140575" y="2666981"/>
            <a:ext cx="4464050" cy="64928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6" name="Текст 8">
            <a:extLst>
              <a:ext uri="{FF2B5EF4-FFF2-40B4-BE49-F238E27FC236}">
                <a16:creationId xmlns:a16="http://schemas.microsoft.com/office/drawing/2014/main" id="{0A9E8602-E114-8E20-677C-50FAD71E920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66439" y="3755297"/>
            <a:ext cx="5958236" cy="641626"/>
          </a:xfrm>
          <a:prstGeom prst="homePlate">
            <a:avLst/>
          </a:prstGeom>
          <a:solidFill>
            <a:schemeClr val="bg1">
              <a:lumMod val="50000"/>
            </a:schemeClr>
          </a:solidFill>
        </p:spPr>
        <p:txBody>
          <a:bodyPr lIns="576000" tIns="0" rIns="0" bIns="0" anchor="ctr"/>
          <a:lstStyle>
            <a:lvl1pPr marL="0" indent="0" algn="l">
              <a:buNone/>
              <a:defRPr lang="ru-RU" sz="14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48" name="Рисунок 2">
            <a:extLst>
              <a:ext uri="{FF2B5EF4-FFF2-40B4-BE49-F238E27FC236}">
                <a16:creationId xmlns:a16="http://schemas.microsoft.com/office/drawing/2014/main" id="{AC12C8B8-FCAC-46E9-F938-524C1427A1B6}"/>
              </a:ext>
            </a:extLst>
          </p:cNvPr>
          <p:cNvSpPr>
            <a:spLocks noGrp="1" noChangeAspect="1"/>
          </p:cNvSpPr>
          <p:nvPr>
            <p:ph type="pic" sz="quarter" idx="49"/>
          </p:nvPr>
        </p:nvSpPr>
        <p:spPr>
          <a:xfrm>
            <a:off x="599607" y="3708339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49" name="Текст 8">
            <a:extLst>
              <a:ext uri="{FF2B5EF4-FFF2-40B4-BE49-F238E27FC236}">
                <a16:creationId xmlns:a16="http://schemas.microsoft.com/office/drawing/2014/main" id="{CAEFF7D7-4EA8-A8E3-6EA1-4900027A81D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40575" y="3747636"/>
            <a:ext cx="4464050" cy="64928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50" name="Текст 8">
            <a:extLst>
              <a:ext uri="{FF2B5EF4-FFF2-40B4-BE49-F238E27FC236}">
                <a16:creationId xmlns:a16="http://schemas.microsoft.com/office/drawing/2014/main" id="{5AC0A69D-1EAA-7DDC-CD31-5A875240D9E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66439" y="4847382"/>
            <a:ext cx="5958236" cy="641626"/>
          </a:xfrm>
          <a:prstGeom prst="homePlate">
            <a:avLst/>
          </a:prstGeom>
          <a:solidFill>
            <a:schemeClr val="accent3"/>
          </a:solidFill>
        </p:spPr>
        <p:txBody>
          <a:bodyPr lIns="576000" tIns="0" rIns="0" bIns="0" anchor="ctr"/>
          <a:lstStyle>
            <a:lvl1pPr marL="0" indent="0" algn="l">
              <a:buNone/>
              <a:defRPr lang="ru-RU" sz="14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52" name="Рисунок 2">
            <a:extLst>
              <a:ext uri="{FF2B5EF4-FFF2-40B4-BE49-F238E27FC236}">
                <a16:creationId xmlns:a16="http://schemas.microsoft.com/office/drawing/2014/main" id="{77F30643-6553-02AE-3ADE-E06229F63480}"/>
              </a:ext>
            </a:extLst>
          </p:cNvPr>
          <p:cNvSpPr>
            <a:spLocks noGrp="1" noChangeAspect="1"/>
          </p:cNvSpPr>
          <p:nvPr>
            <p:ph type="pic" sz="quarter" idx="52"/>
          </p:nvPr>
        </p:nvSpPr>
        <p:spPr>
          <a:xfrm>
            <a:off x="599607" y="4788994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53" name="Текст 8">
            <a:extLst>
              <a:ext uri="{FF2B5EF4-FFF2-40B4-BE49-F238E27FC236}">
                <a16:creationId xmlns:a16="http://schemas.microsoft.com/office/drawing/2014/main" id="{65A862EB-2BB3-5449-0BD4-2A8B1D6266D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40575" y="4828291"/>
            <a:ext cx="4464050" cy="64928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CB98F8A5-5507-FE19-A9EA-D9BA32450B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7546022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нфографика_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Текст 8">
            <a:extLst>
              <a:ext uri="{FF2B5EF4-FFF2-40B4-BE49-F238E27FC236}">
                <a16:creationId xmlns:a16="http://schemas.microsoft.com/office/drawing/2014/main" id="{9FD60C7F-15DE-6EAE-528D-A2EFC9BF97E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87374" y="5543748"/>
            <a:ext cx="3529014" cy="58559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37" name="Текст 8">
            <a:extLst>
              <a:ext uri="{FF2B5EF4-FFF2-40B4-BE49-F238E27FC236}">
                <a16:creationId xmlns:a16="http://schemas.microsoft.com/office/drawing/2014/main" id="{4E945B2B-B17A-0359-4679-2993ECFCD4AB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87374" y="2046147"/>
            <a:ext cx="3529013" cy="41130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ru-RU" dirty="0"/>
              <a:t>Наименование этапа</a:t>
            </a:r>
          </a:p>
        </p:txBody>
      </p:sp>
      <p:sp>
        <p:nvSpPr>
          <p:cNvPr id="38" name="Текст 8">
            <a:extLst>
              <a:ext uri="{FF2B5EF4-FFF2-40B4-BE49-F238E27FC236}">
                <a16:creationId xmlns:a16="http://schemas.microsoft.com/office/drawing/2014/main" id="{26625E2A-80F9-950F-4453-D96762754FD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87375" y="1376507"/>
            <a:ext cx="3527425" cy="431656"/>
          </a:xfrm>
          <a:prstGeom prst="chevron">
            <a:avLst/>
          </a:prstGeom>
          <a:solidFill>
            <a:schemeClr val="accent2"/>
          </a:solidFill>
        </p:spPr>
        <p:txBody>
          <a:bodyPr lIns="0" tIns="0" rIns="0" bIns="0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Этап 1</a:t>
            </a:r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A91F678E-FAE0-B682-E445-FF7C8352496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87375" y="2651269"/>
            <a:ext cx="644458" cy="531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1</a:t>
            </a:r>
            <a:endParaRPr lang="en-US" dirty="0"/>
          </a:p>
        </p:txBody>
      </p:sp>
      <p:sp>
        <p:nvSpPr>
          <p:cNvPr id="40" name="Текст 8">
            <a:extLst>
              <a:ext uri="{FF2B5EF4-FFF2-40B4-BE49-F238E27FC236}">
                <a16:creationId xmlns:a16="http://schemas.microsoft.com/office/drawing/2014/main" id="{5DDEEB43-1BFD-157F-06A3-9BDAF2B84968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308100" y="2744815"/>
            <a:ext cx="2806700" cy="576235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1596ECBF-D82B-FEB8-63EE-AD34DB2622CB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91642" y="3509501"/>
            <a:ext cx="644458" cy="531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2</a:t>
            </a:r>
            <a:endParaRPr lang="en-US" dirty="0"/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0B8CC09C-0C37-301F-F2A2-74840B587921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87375" y="4370089"/>
            <a:ext cx="644458" cy="531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3</a:t>
            </a:r>
            <a:endParaRPr lang="en-US" dirty="0"/>
          </a:p>
        </p:txBody>
      </p:sp>
      <p:sp>
        <p:nvSpPr>
          <p:cNvPr id="49" name="Текст 8">
            <a:extLst>
              <a:ext uri="{FF2B5EF4-FFF2-40B4-BE49-F238E27FC236}">
                <a16:creationId xmlns:a16="http://schemas.microsoft.com/office/drawing/2014/main" id="{4DE7FBEA-8D80-F32D-BA92-2F9AA60911D5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1308100" y="3605216"/>
            <a:ext cx="2808288" cy="579434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50" name="Текст 8">
            <a:extLst>
              <a:ext uri="{FF2B5EF4-FFF2-40B4-BE49-F238E27FC236}">
                <a16:creationId xmlns:a16="http://schemas.microsoft.com/office/drawing/2014/main" id="{6027E9B2-A3E1-F855-AACF-109F1F4E472A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1308100" y="4469521"/>
            <a:ext cx="2806700" cy="579434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82" name="Текст 8">
            <a:extLst>
              <a:ext uri="{FF2B5EF4-FFF2-40B4-BE49-F238E27FC236}">
                <a16:creationId xmlns:a16="http://schemas.microsoft.com/office/drawing/2014/main" id="{D3755126-54F2-5683-2AF8-99118C594FA6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4333986" y="5543748"/>
            <a:ext cx="3529014" cy="58559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86" name="Текст 8">
            <a:extLst>
              <a:ext uri="{FF2B5EF4-FFF2-40B4-BE49-F238E27FC236}">
                <a16:creationId xmlns:a16="http://schemas.microsoft.com/office/drawing/2014/main" id="{21382672-B7DE-BD6D-2997-C137CE73DCA4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4333986" y="2046147"/>
            <a:ext cx="3529013" cy="41130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dirty="0"/>
              <a:t>Наименование этапа</a:t>
            </a:r>
          </a:p>
        </p:txBody>
      </p:sp>
      <p:sp>
        <p:nvSpPr>
          <p:cNvPr id="87" name="Текст 8">
            <a:extLst>
              <a:ext uri="{FF2B5EF4-FFF2-40B4-BE49-F238E27FC236}">
                <a16:creationId xmlns:a16="http://schemas.microsoft.com/office/drawing/2014/main" id="{F428C8AA-5DC0-D62D-1E95-F5D8403BFC84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4333987" y="1376507"/>
            <a:ext cx="3527425" cy="431656"/>
          </a:xfrm>
          <a:prstGeom prst="chevron">
            <a:avLst/>
          </a:prstGeom>
          <a:solidFill>
            <a:schemeClr val="bg1">
              <a:lumMod val="50000"/>
            </a:schemeClr>
          </a:solidFill>
        </p:spPr>
        <p:txBody>
          <a:bodyPr lIns="0" tIns="0" rIns="0" bIns="0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Этап 2</a:t>
            </a:r>
          </a:p>
        </p:txBody>
      </p:sp>
      <p:sp>
        <p:nvSpPr>
          <p:cNvPr id="88" name="Text Placeholder 7">
            <a:extLst>
              <a:ext uri="{FF2B5EF4-FFF2-40B4-BE49-F238E27FC236}">
                <a16:creationId xmlns:a16="http://schemas.microsoft.com/office/drawing/2014/main" id="{3C69B269-BD4B-CCD2-69CE-25D752FED409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4333987" y="2651269"/>
            <a:ext cx="644458" cy="531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1</a:t>
            </a:r>
            <a:endParaRPr lang="en-US" dirty="0"/>
          </a:p>
        </p:txBody>
      </p:sp>
      <p:sp>
        <p:nvSpPr>
          <p:cNvPr id="91" name="Текст 8">
            <a:extLst>
              <a:ext uri="{FF2B5EF4-FFF2-40B4-BE49-F238E27FC236}">
                <a16:creationId xmlns:a16="http://schemas.microsoft.com/office/drawing/2014/main" id="{A9793217-10C9-06D1-7877-B807D5A11E67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5054712" y="2744815"/>
            <a:ext cx="2806700" cy="576235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04" name="Text Placeholder 7">
            <a:extLst>
              <a:ext uri="{FF2B5EF4-FFF2-40B4-BE49-F238E27FC236}">
                <a16:creationId xmlns:a16="http://schemas.microsoft.com/office/drawing/2014/main" id="{63104018-42D0-519E-41D1-6201AE63D8D7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4338254" y="3509501"/>
            <a:ext cx="644458" cy="531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2</a:t>
            </a:r>
            <a:endParaRPr lang="en-US" dirty="0"/>
          </a:p>
        </p:txBody>
      </p:sp>
      <p:sp>
        <p:nvSpPr>
          <p:cNvPr id="105" name="Text Placeholder 7">
            <a:extLst>
              <a:ext uri="{FF2B5EF4-FFF2-40B4-BE49-F238E27FC236}">
                <a16:creationId xmlns:a16="http://schemas.microsoft.com/office/drawing/2014/main" id="{8D8F5039-2E5D-0445-CB1C-ABDF56F6DA28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4333987" y="4370089"/>
            <a:ext cx="644458" cy="531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3</a:t>
            </a:r>
            <a:endParaRPr lang="en-US" dirty="0"/>
          </a:p>
        </p:txBody>
      </p:sp>
      <p:sp>
        <p:nvSpPr>
          <p:cNvPr id="106" name="Текст 8">
            <a:extLst>
              <a:ext uri="{FF2B5EF4-FFF2-40B4-BE49-F238E27FC236}">
                <a16:creationId xmlns:a16="http://schemas.microsoft.com/office/drawing/2014/main" id="{F9400BBB-1D9C-40B5-A493-095B062BCA8E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5054712" y="3605216"/>
            <a:ext cx="2808288" cy="579434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07" name="Текст 8">
            <a:extLst>
              <a:ext uri="{FF2B5EF4-FFF2-40B4-BE49-F238E27FC236}">
                <a16:creationId xmlns:a16="http://schemas.microsoft.com/office/drawing/2014/main" id="{B9360B1A-33CF-C1EC-6ABF-6C27EFFA281E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5054712" y="4469521"/>
            <a:ext cx="2806700" cy="579434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08" name="Текст 8">
            <a:extLst>
              <a:ext uri="{FF2B5EF4-FFF2-40B4-BE49-F238E27FC236}">
                <a16:creationId xmlns:a16="http://schemas.microsoft.com/office/drawing/2014/main" id="{2FB47FA8-15C0-F3A0-8483-15099B98773C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8072507" y="5543748"/>
            <a:ext cx="3529014" cy="58559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09" name="Текст 8">
            <a:extLst>
              <a:ext uri="{FF2B5EF4-FFF2-40B4-BE49-F238E27FC236}">
                <a16:creationId xmlns:a16="http://schemas.microsoft.com/office/drawing/2014/main" id="{D20BCE6E-8EE6-CA4F-BE62-FEB6DB8EAC2D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8072507" y="2046147"/>
            <a:ext cx="3529013" cy="41130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ru-RU" dirty="0"/>
              <a:t>Наименование этапа</a:t>
            </a:r>
          </a:p>
        </p:txBody>
      </p:sp>
      <p:sp>
        <p:nvSpPr>
          <p:cNvPr id="110" name="Текст 8">
            <a:extLst>
              <a:ext uri="{FF2B5EF4-FFF2-40B4-BE49-F238E27FC236}">
                <a16:creationId xmlns:a16="http://schemas.microsoft.com/office/drawing/2014/main" id="{314DB21E-7B51-C430-3703-BB904366C90D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8072508" y="1376507"/>
            <a:ext cx="3527425" cy="431656"/>
          </a:xfrm>
          <a:prstGeom prst="chevron">
            <a:avLst/>
          </a:prstGeom>
          <a:solidFill>
            <a:schemeClr val="accent3"/>
          </a:solidFill>
        </p:spPr>
        <p:txBody>
          <a:bodyPr lIns="0" tIns="0" rIns="0" bIns="0" anchor="ctr"/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Этап 3</a:t>
            </a:r>
          </a:p>
        </p:txBody>
      </p:sp>
      <p:sp>
        <p:nvSpPr>
          <p:cNvPr id="111" name="Text Placeholder 7">
            <a:extLst>
              <a:ext uri="{FF2B5EF4-FFF2-40B4-BE49-F238E27FC236}">
                <a16:creationId xmlns:a16="http://schemas.microsoft.com/office/drawing/2014/main" id="{18BC113B-14FD-BD92-90E0-8F6F7892727E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8072508" y="2651269"/>
            <a:ext cx="644458" cy="531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1</a:t>
            </a:r>
            <a:endParaRPr lang="en-US" dirty="0"/>
          </a:p>
        </p:txBody>
      </p:sp>
      <p:sp>
        <p:nvSpPr>
          <p:cNvPr id="112" name="Текст 8">
            <a:extLst>
              <a:ext uri="{FF2B5EF4-FFF2-40B4-BE49-F238E27FC236}">
                <a16:creationId xmlns:a16="http://schemas.microsoft.com/office/drawing/2014/main" id="{B3942E2C-78EF-FC41-B705-7471C97DDDAD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8793233" y="2744815"/>
            <a:ext cx="2806700" cy="576235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13" name="Text Placeholder 7">
            <a:extLst>
              <a:ext uri="{FF2B5EF4-FFF2-40B4-BE49-F238E27FC236}">
                <a16:creationId xmlns:a16="http://schemas.microsoft.com/office/drawing/2014/main" id="{0FC2C7D2-5C55-1D7C-0826-DC6E6C94C8B8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8076775" y="3509501"/>
            <a:ext cx="644458" cy="531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2</a:t>
            </a:r>
            <a:endParaRPr lang="en-US" dirty="0"/>
          </a:p>
        </p:txBody>
      </p:sp>
      <p:sp>
        <p:nvSpPr>
          <p:cNvPr id="114" name="Text Placeholder 7">
            <a:extLst>
              <a:ext uri="{FF2B5EF4-FFF2-40B4-BE49-F238E27FC236}">
                <a16:creationId xmlns:a16="http://schemas.microsoft.com/office/drawing/2014/main" id="{D2DE09C2-698E-6E05-9AC2-6A6FB1D87BA7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8072508" y="4370089"/>
            <a:ext cx="644458" cy="5312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3</a:t>
            </a:r>
            <a:endParaRPr lang="en-US" dirty="0"/>
          </a:p>
        </p:txBody>
      </p:sp>
      <p:sp>
        <p:nvSpPr>
          <p:cNvPr id="115" name="Текст 8">
            <a:extLst>
              <a:ext uri="{FF2B5EF4-FFF2-40B4-BE49-F238E27FC236}">
                <a16:creationId xmlns:a16="http://schemas.microsoft.com/office/drawing/2014/main" id="{BBC419B1-87E7-0253-0DB3-F64577D60A09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8793233" y="3605216"/>
            <a:ext cx="2808288" cy="579434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16" name="Текст 8">
            <a:extLst>
              <a:ext uri="{FF2B5EF4-FFF2-40B4-BE49-F238E27FC236}">
                <a16:creationId xmlns:a16="http://schemas.microsoft.com/office/drawing/2014/main" id="{CFDDA777-564F-FDAE-061E-B4D4731589D7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8793233" y="4469521"/>
            <a:ext cx="2806700" cy="579434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17" name="Text Placeholder 7">
            <a:extLst>
              <a:ext uri="{FF2B5EF4-FFF2-40B4-BE49-F238E27FC236}">
                <a16:creationId xmlns:a16="http://schemas.microsoft.com/office/drawing/2014/main" id="{5946A278-AF36-1D10-C919-50E291419A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836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CCBBAB4B-1547-AB1A-CC7F-FCF720C13D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6832305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нфографика_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Рисунок 2">
            <a:extLst>
              <a:ext uri="{FF2B5EF4-FFF2-40B4-BE49-F238E27FC236}">
                <a16:creationId xmlns:a16="http://schemas.microsoft.com/office/drawing/2014/main" id="{C632458B-5F4A-2989-9FDB-14384F01BC48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9948448" y="2168525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57" name="Текст 8">
            <a:extLst>
              <a:ext uri="{FF2B5EF4-FFF2-40B4-BE49-F238E27FC236}">
                <a16:creationId xmlns:a16="http://schemas.microsoft.com/office/drawing/2014/main" id="{3C664976-741E-A7E9-3E69-FEB8A5E17A2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9491663" y="1371600"/>
            <a:ext cx="1655761" cy="464808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ctr">
              <a:buNone/>
              <a:defRPr lang="ru-RU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58" name="Текст 8">
            <a:extLst>
              <a:ext uri="{FF2B5EF4-FFF2-40B4-BE49-F238E27FC236}">
                <a16:creationId xmlns:a16="http://schemas.microsoft.com/office/drawing/2014/main" id="{279C7151-14A2-B1C6-B3BF-1DD05D509CAA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87375" y="1876792"/>
            <a:ext cx="2592389" cy="1012458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60" name="Рисунок 2">
            <a:extLst>
              <a:ext uri="{FF2B5EF4-FFF2-40B4-BE49-F238E27FC236}">
                <a16:creationId xmlns:a16="http://schemas.microsoft.com/office/drawing/2014/main" id="{BA6FEE47-1FFE-B1CF-90FE-5ECAA42A1CC6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8081940" y="2168525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61" name="Текст 8">
            <a:extLst>
              <a:ext uri="{FF2B5EF4-FFF2-40B4-BE49-F238E27FC236}">
                <a16:creationId xmlns:a16="http://schemas.microsoft.com/office/drawing/2014/main" id="{0F6E70F0-C3FC-E0DC-B26D-BC52325AF3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7625155" y="1371600"/>
            <a:ext cx="1655761" cy="464808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ctr">
              <a:buNone/>
              <a:defRPr lang="ru-RU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62" name="Рисунок 2">
            <a:extLst>
              <a:ext uri="{FF2B5EF4-FFF2-40B4-BE49-F238E27FC236}">
                <a16:creationId xmlns:a16="http://schemas.microsoft.com/office/drawing/2014/main" id="{4B4F19F0-3A91-EF5B-BA2C-A98350732D80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>
          <a:xfrm>
            <a:off x="6215433" y="2168525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63" name="Текст 8">
            <a:extLst>
              <a:ext uri="{FF2B5EF4-FFF2-40B4-BE49-F238E27FC236}">
                <a16:creationId xmlns:a16="http://schemas.microsoft.com/office/drawing/2014/main" id="{43FBAB54-53A4-3C37-EEEA-D6AB89A4802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758648" y="1371600"/>
            <a:ext cx="1655761" cy="464808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ctr">
              <a:buNone/>
              <a:defRPr lang="ru-RU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64" name="Рисунок 2">
            <a:extLst>
              <a:ext uri="{FF2B5EF4-FFF2-40B4-BE49-F238E27FC236}">
                <a16:creationId xmlns:a16="http://schemas.microsoft.com/office/drawing/2014/main" id="{885BDC86-1D5B-7ABB-9A45-133906242667}"/>
              </a:ext>
            </a:extLst>
          </p:cNvPr>
          <p:cNvSpPr>
            <a:spLocks noGrp="1" noChangeAspect="1"/>
          </p:cNvSpPr>
          <p:nvPr>
            <p:ph type="pic" sz="quarter" idx="62"/>
          </p:nvPr>
        </p:nvSpPr>
        <p:spPr>
          <a:xfrm>
            <a:off x="4348926" y="2168525"/>
            <a:ext cx="720000" cy="7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65" name="Текст 8">
            <a:extLst>
              <a:ext uri="{FF2B5EF4-FFF2-40B4-BE49-F238E27FC236}">
                <a16:creationId xmlns:a16="http://schemas.microsoft.com/office/drawing/2014/main" id="{D3AE0F79-9DF1-FA39-52C4-6F041C8FB279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3892141" y="1371600"/>
            <a:ext cx="1655761" cy="464808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ctr">
              <a:buNone/>
              <a:defRPr lang="ru-RU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66" name="Рисунок 2">
            <a:extLst>
              <a:ext uri="{FF2B5EF4-FFF2-40B4-BE49-F238E27FC236}">
                <a16:creationId xmlns:a16="http://schemas.microsoft.com/office/drawing/2014/main" id="{6424E942-31AB-494E-33E7-9DC12E6B46EA}"/>
              </a:ext>
            </a:extLst>
          </p:cNvPr>
          <p:cNvSpPr>
            <a:spLocks noGrp="1"/>
          </p:cNvSpPr>
          <p:nvPr>
            <p:ph type="pic" sz="quarter" idx="64"/>
          </p:nvPr>
        </p:nvSpPr>
        <p:spPr>
          <a:xfrm>
            <a:off x="9948448" y="3901710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67" name="Текст 8">
            <a:extLst>
              <a:ext uri="{FF2B5EF4-FFF2-40B4-BE49-F238E27FC236}">
                <a16:creationId xmlns:a16="http://schemas.microsoft.com/office/drawing/2014/main" id="{3B345BCD-AC04-33E4-4BCC-E7359F53237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9491663" y="4895455"/>
            <a:ext cx="1655761" cy="464808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>
              <a:buNone/>
              <a:defRPr lang="ru-RU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68" name="Рисунок 2">
            <a:extLst>
              <a:ext uri="{FF2B5EF4-FFF2-40B4-BE49-F238E27FC236}">
                <a16:creationId xmlns:a16="http://schemas.microsoft.com/office/drawing/2014/main" id="{2D07DD1F-D70A-6DDC-A2DB-2F8AD7240A51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>
          <a:xfrm>
            <a:off x="8081940" y="3901710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69" name="Текст 8">
            <a:extLst>
              <a:ext uri="{FF2B5EF4-FFF2-40B4-BE49-F238E27FC236}">
                <a16:creationId xmlns:a16="http://schemas.microsoft.com/office/drawing/2014/main" id="{38DAD231-5AF9-E032-10BB-88D0A3AD72A1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7625155" y="4895455"/>
            <a:ext cx="1655761" cy="464808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>
              <a:buNone/>
              <a:defRPr lang="ru-RU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70" name="Рисунок 2">
            <a:extLst>
              <a:ext uri="{FF2B5EF4-FFF2-40B4-BE49-F238E27FC236}">
                <a16:creationId xmlns:a16="http://schemas.microsoft.com/office/drawing/2014/main" id="{B8415F46-BC07-09CC-6433-49E743AA224B}"/>
              </a:ext>
            </a:extLst>
          </p:cNvPr>
          <p:cNvSpPr>
            <a:spLocks noGrp="1"/>
          </p:cNvSpPr>
          <p:nvPr>
            <p:ph type="pic" sz="quarter" idx="68"/>
          </p:nvPr>
        </p:nvSpPr>
        <p:spPr>
          <a:xfrm>
            <a:off x="6215433" y="3901710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71" name="Текст 8">
            <a:extLst>
              <a:ext uri="{FF2B5EF4-FFF2-40B4-BE49-F238E27FC236}">
                <a16:creationId xmlns:a16="http://schemas.microsoft.com/office/drawing/2014/main" id="{D9B3E19A-FB3D-BBFF-534D-E318EB1F9018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5758648" y="4895455"/>
            <a:ext cx="1655761" cy="464808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>
              <a:buNone/>
              <a:defRPr lang="ru-RU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72" name="Рисунок 2">
            <a:extLst>
              <a:ext uri="{FF2B5EF4-FFF2-40B4-BE49-F238E27FC236}">
                <a16:creationId xmlns:a16="http://schemas.microsoft.com/office/drawing/2014/main" id="{F15F8829-5222-02D9-3839-90679009617D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4348926" y="3901710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74" name="Текст 8">
            <a:extLst>
              <a:ext uri="{FF2B5EF4-FFF2-40B4-BE49-F238E27FC236}">
                <a16:creationId xmlns:a16="http://schemas.microsoft.com/office/drawing/2014/main" id="{1C6843E3-226E-4A68-716C-AF2142A7DDDC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3892141" y="4895455"/>
            <a:ext cx="1655761" cy="464808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>
              <a:buNone/>
              <a:defRPr lang="ru-RU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dirty="0"/>
              <a:t>Текст</a:t>
            </a:r>
          </a:p>
        </p:txBody>
      </p:sp>
      <p:sp>
        <p:nvSpPr>
          <p:cNvPr id="75" name="Текст 8">
            <a:extLst>
              <a:ext uri="{FF2B5EF4-FFF2-40B4-BE49-F238E27FC236}">
                <a16:creationId xmlns:a16="http://schemas.microsoft.com/office/drawing/2014/main" id="{FDBEDE7B-DA7B-26DF-F132-4AF2228CD13A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587376" y="3825340"/>
            <a:ext cx="2592388" cy="1012458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76" name="Text Placeholder 7">
            <a:extLst>
              <a:ext uri="{FF2B5EF4-FFF2-40B4-BE49-F238E27FC236}">
                <a16:creationId xmlns:a16="http://schemas.microsoft.com/office/drawing/2014/main" id="{C338C697-5322-D445-8FB6-D51BC02289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836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</a:t>
            </a:r>
            <a:r>
              <a:rPr lang="en-US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&amp;</a:t>
            </a:r>
            <a:endParaRPr lang="ru-RU" dirty="0"/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DF707947-CAF4-1C4C-6CB3-22DCA03463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16038220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нфографика_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D1895F8F-06A1-451A-378B-B3B0183E9D1F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879475" y="4908649"/>
            <a:ext cx="2089150" cy="47418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200" b="1" kern="12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41" name="Рисунок 2">
            <a:extLst>
              <a:ext uri="{FF2B5EF4-FFF2-40B4-BE49-F238E27FC236}">
                <a16:creationId xmlns:a16="http://schemas.microsoft.com/office/drawing/2014/main" id="{7FA6A695-E824-A53F-EC2F-C5566A98B676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1564042" y="4112763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3D518E75-7440-AAF5-3B83-D913B038BF90}"/>
              </a:ext>
            </a:extLst>
          </p:cNvPr>
          <p:cNvSpPr/>
          <p:nvPr userDrawn="1"/>
        </p:nvSpPr>
        <p:spPr>
          <a:xfrm>
            <a:off x="5051425" y="4404224"/>
            <a:ext cx="2089150" cy="21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BB2BE6D6-0CF4-A19A-2991-496B28CDC765}"/>
              </a:ext>
            </a:extLst>
          </p:cNvPr>
          <p:cNvSpPr/>
          <p:nvPr userDrawn="1"/>
        </p:nvSpPr>
        <p:spPr>
          <a:xfrm>
            <a:off x="7134225" y="3756524"/>
            <a:ext cx="2089150" cy="21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id="{6560C2B0-BE31-913F-D0BB-CDA78C559A22}"/>
              </a:ext>
            </a:extLst>
          </p:cNvPr>
          <p:cNvSpPr/>
          <p:nvPr userDrawn="1"/>
        </p:nvSpPr>
        <p:spPr>
          <a:xfrm>
            <a:off x="9227311" y="3108824"/>
            <a:ext cx="2089150" cy="21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id="{3CBBB9FE-B253-7921-7922-FD21BBA11EA1}"/>
              </a:ext>
            </a:extLst>
          </p:cNvPr>
          <p:cNvSpPr/>
          <p:nvPr userDrawn="1"/>
        </p:nvSpPr>
        <p:spPr>
          <a:xfrm>
            <a:off x="2968625" y="5051924"/>
            <a:ext cx="2089150" cy="21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CE99274B-1C54-7FF4-38AA-CE0E04DAAD5F}"/>
              </a:ext>
            </a:extLst>
          </p:cNvPr>
          <p:cNvSpPr/>
          <p:nvPr userDrawn="1"/>
        </p:nvSpPr>
        <p:spPr>
          <a:xfrm>
            <a:off x="879593" y="5699624"/>
            <a:ext cx="2089150" cy="21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0" name="Shape 19460">
            <a:extLst>
              <a:ext uri="{FF2B5EF4-FFF2-40B4-BE49-F238E27FC236}">
                <a16:creationId xmlns:a16="http://schemas.microsoft.com/office/drawing/2014/main" id="{9F266D32-51AF-947B-8AA3-F4E305AE6A3C}"/>
              </a:ext>
            </a:extLst>
          </p:cNvPr>
          <p:cNvSpPr/>
          <p:nvPr userDrawn="1"/>
        </p:nvSpPr>
        <p:spPr>
          <a:xfrm flipH="1" flipV="1">
            <a:off x="5054600" y="4403023"/>
            <a:ext cx="0" cy="860930"/>
          </a:xfrm>
          <a:prstGeom prst="line">
            <a:avLst/>
          </a:prstGeom>
          <a:noFill/>
          <a:ln w="19050" cap="flat">
            <a:solidFill>
              <a:schemeClr val="bg1">
                <a:lumMod val="50000"/>
              </a:schemeClr>
            </a:solidFill>
            <a:prstDash val="solid"/>
            <a:miter lim="400000"/>
          </a:ln>
          <a:effectLst/>
        </p:spPr>
        <p:txBody>
          <a:bodyPr wrap="square" lIns="26796" tIns="26796" rIns="26796" bIns="26796" numCol="1" anchor="ctr">
            <a:noAutofit/>
          </a:bodyPr>
          <a:lstStyle/>
          <a:p>
            <a:pPr defTabSz="685807">
              <a:defRPr/>
            </a:pPr>
            <a:endParaRPr lang="ru-RU" sz="1200" kern="0" dirty="0">
              <a:solidFill>
                <a:srgbClr val="333333"/>
              </a:solidFill>
            </a:endParaRPr>
          </a:p>
        </p:txBody>
      </p:sp>
      <p:sp>
        <p:nvSpPr>
          <p:cNvPr id="61" name="Shape 19460">
            <a:extLst>
              <a:ext uri="{FF2B5EF4-FFF2-40B4-BE49-F238E27FC236}">
                <a16:creationId xmlns:a16="http://schemas.microsoft.com/office/drawing/2014/main" id="{12C6F345-2F97-6EB2-D8AE-9D1B7744C6EE}"/>
              </a:ext>
            </a:extLst>
          </p:cNvPr>
          <p:cNvSpPr/>
          <p:nvPr userDrawn="1"/>
        </p:nvSpPr>
        <p:spPr>
          <a:xfrm flipH="1" flipV="1">
            <a:off x="7140338" y="3760676"/>
            <a:ext cx="0" cy="860930"/>
          </a:xfrm>
          <a:prstGeom prst="line">
            <a:avLst/>
          </a:prstGeom>
          <a:noFill/>
          <a:ln w="19050" cap="flat">
            <a:solidFill>
              <a:schemeClr val="bg1">
                <a:lumMod val="50000"/>
              </a:schemeClr>
            </a:solidFill>
            <a:prstDash val="solid"/>
            <a:miter lim="400000"/>
          </a:ln>
          <a:effectLst/>
        </p:spPr>
        <p:txBody>
          <a:bodyPr wrap="square" lIns="26796" tIns="26796" rIns="26796" bIns="26796" numCol="1" anchor="ctr">
            <a:noAutofit/>
          </a:bodyPr>
          <a:lstStyle/>
          <a:p>
            <a:pPr defTabSz="685807">
              <a:defRPr/>
            </a:pPr>
            <a:endParaRPr lang="ru-RU" sz="1200" kern="0" dirty="0">
              <a:solidFill>
                <a:srgbClr val="333333"/>
              </a:solidFill>
            </a:endParaRPr>
          </a:p>
        </p:txBody>
      </p:sp>
      <p:sp>
        <p:nvSpPr>
          <p:cNvPr id="62" name="Shape 19460">
            <a:extLst>
              <a:ext uri="{FF2B5EF4-FFF2-40B4-BE49-F238E27FC236}">
                <a16:creationId xmlns:a16="http://schemas.microsoft.com/office/drawing/2014/main" id="{82382BFD-4D06-8CA7-70EF-52FB6682B0F1}"/>
              </a:ext>
            </a:extLst>
          </p:cNvPr>
          <p:cNvSpPr/>
          <p:nvPr userDrawn="1"/>
        </p:nvSpPr>
        <p:spPr>
          <a:xfrm flipH="1" flipV="1">
            <a:off x="9226077" y="3110772"/>
            <a:ext cx="0" cy="860930"/>
          </a:xfrm>
          <a:prstGeom prst="line">
            <a:avLst/>
          </a:prstGeom>
          <a:noFill/>
          <a:ln w="19050" cap="flat">
            <a:solidFill>
              <a:schemeClr val="bg1">
                <a:lumMod val="50000"/>
              </a:schemeClr>
            </a:solidFill>
            <a:prstDash val="solid"/>
            <a:miter lim="400000"/>
          </a:ln>
          <a:effectLst/>
        </p:spPr>
        <p:txBody>
          <a:bodyPr wrap="square" lIns="26796" tIns="26796" rIns="26796" bIns="26796" numCol="1" anchor="ctr">
            <a:noAutofit/>
          </a:bodyPr>
          <a:lstStyle/>
          <a:p>
            <a:pPr defTabSz="685807">
              <a:defRPr/>
            </a:pPr>
            <a:endParaRPr lang="ru-RU" sz="1200" kern="0" dirty="0">
              <a:solidFill>
                <a:srgbClr val="333333"/>
              </a:solidFill>
            </a:endParaRPr>
          </a:p>
        </p:txBody>
      </p:sp>
      <p:sp>
        <p:nvSpPr>
          <p:cNvPr id="63" name="Shape 19460">
            <a:extLst>
              <a:ext uri="{FF2B5EF4-FFF2-40B4-BE49-F238E27FC236}">
                <a16:creationId xmlns:a16="http://schemas.microsoft.com/office/drawing/2014/main" id="{96398B55-1B8B-1CF9-01F7-8BC306E3AF6B}"/>
              </a:ext>
            </a:extLst>
          </p:cNvPr>
          <p:cNvSpPr/>
          <p:nvPr userDrawn="1"/>
        </p:nvSpPr>
        <p:spPr>
          <a:xfrm flipH="1" flipV="1">
            <a:off x="2968861" y="5045370"/>
            <a:ext cx="0" cy="860930"/>
          </a:xfrm>
          <a:prstGeom prst="line">
            <a:avLst/>
          </a:prstGeom>
          <a:noFill/>
          <a:ln w="19050" cap="flat">
            <a:solidFill>
              <a:schemeClr val="bg1">
                <a:lumMod val="50000"/>
              </a:schemeClr>
            </a:solidFill>
            <a:prstDash val="solid"/>
            <a:miter lim="400000"/>
          </a:ln>
          <a:effectLst/>
        </p:spPr>
        <p:txBody>
          <a:bodyPr wrap="square" lIns="26796" tIns="26796" rIns="26796" bIns="26796" numCol="1" anchor="ctr">
            <a:noAutofit/>
          </a:bodyPr>
          <a:lstStyle/>
          <a:p>
            <a:pPr defTabSz="685807">
              <a:defRPr/>
            </a:pPr>
            <a:endParaRPr lang="ru-RU" sz="1200" kern="0" dirty="0">
              <a:solidFill>
                <a:srgbClr val="333333"/>
              </a:solidFill>
            </a:endParaRPr>
          </a:p>
        </p:txBody>
      </p:sp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FE9C3323-EAF6-FD08-FB77-62ABBB2A27E5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2970329" y="4261878"/>
            <a:ext cx="2089150" cy="47418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200" b="1" kern="12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65" name="Рисунок 2">
            <a:extLst>
              <a:ext uri="{FF2B5EF4-FFF2-40B4-BE49-F238E27FC236}">
                <a16:creationId xmlns:a16="http://schemas.microsoft.com/office/drawing/2014/main" id="{5B1E1A80-3462-9691-BA5A-80FF30FBE79C}"/>
              </a:ext>
            </a:extLst>
          </p:cNvPr>
          <p:cNvSpPr>
            <a:spLocks noGrp="1" noChangeAspect="1"/>
          </p:cNvSpPr>
          <p:nvPr>
            <p:ph type="pic" sz="quarter" idx="88"/>
          </p:nvPr>
        </p:nvSpPr>
        <p:spPr>
          <a:xfrm>
            <a:off x="3654896" y="3465992"/>
            <a:ext cx="720000" cy="7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66" name="Text Placeholder 7">
            <a:extLst>
              <a:ext uri="{FF2B5EF4-FFF2-40B4-BE49-F238E27FC236}">
                <a16:creationId xmlns:a16="http://schemas.microsoft.com/office/drawing/2014/main" id="{38F8BFCB-7163-5771-FA9F-1203BCE9DAB9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5055607" y="3609532"/>
            <a:ext cx="2089150" cy="47418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200" b="1" kern="12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67" name="Рисунок 2">
            <a:extLst>
              <a:ext uri="{FF2B5EF4-FFF2-40B4-BE49-F238E27FC236}">
                <a16:creationId xmlns:a16="http://schemas.microsoft.com/office/drawing/2014/main" id="{88957857-4546-3CC7-4B81-1F01A076DB45}"/>
              </a:ext>
            </a:extLst>
          </p:cNvPr>
          <p:cNvSpPr>
            <a:spLocks noGrp="1"/>
          </p:cNvSpPr>
          <p:nvPr>
            <p:ph type="pic" sz="quarter" idx="90"/>
          </p:nvPr>
        </p:nvSpPr>
        <p:spPr>
          <a:xfrm>
            <a:off x="5740174" y="2813646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78" name="Text Placeholder 7">
            <a:extLst>
              <a:ext uri="{FF2B5EF4-FFF2-40B4-BE49-F238E27FC236}">
                <a16:creationId xmlns:a16="http://schemas.microsoft.com/office/drawing/2014/main" id="{B5B7014A-D020-D910-C9E7-A8AB7C846CA4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7140885" y="2962762"/>
            <a:ext cx="2089150" cy="47418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200" b="1" kern="12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79" name="Рисунок 2">
            <a:extLst>
              <a:ext uri="{FF2B5EF4-FFF2-40B4-BE49-F238E27FC236}">
                <a16:creationId xmlns:a16="http://schemas.microsoft.com/office/drawing/2014/main" id="{07D775AF-15FF-8BB2-BF00-07EDBBEA25DE}"/>
              </a:ext>
            </a:extLst>
          </p:cNvPr>
          <p:cNvSpPr>
            <a:spLocks noGrp="1"/>
          </p:cNvSpPr>
          <p:nvPr>
            <p:ph type="pic" sz="quarter" idx="92"/>
          </p:nvPr>
        </p:nvSpPr>
        <p:spPr>
          <a:xfrm>
            <a:off x="7825452" y="2166876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80" name="Text Placeholder 7">
            <a:extLst>
              <a:ext uri="{FF2B5EF4-FFF2-40B4-BE49-F238E27FC236}">
                <a16:creationId xmlns:a16="http://schemas.microsoft.com/office/drawing/2014/main" id="{8F74924C-F222-14EA-2ADA-B59CAC1122E4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9215011" y="2310416"/>
            <a:ext cx="2089150" cy="47418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200" b="1" kern="12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81" name="Рисунок 2">
            <a:extLst>
              <a:ext uri="{FF2B5EF4-FFF2-40B4-BE49-F238E27FC236}">
                <a16:creationId xmlns:a16="http://schemas.microsoft.com/office/drawing/2014/main" id="{E66C2DFB-FB14-22C6-1560-8EF27EE62287}"/>
              </a:ext>
            </a:extLst>
          </p:cNvPr>
          <p:cNvSpPr>
            <a:spLocks noGrp="1"/>
          </p:cNvSpPr>
          <p:nvPr>
            <p:ph type="pic" sz="quarter" idx="94"/>
          </p:nvPr>
        </p:nvSpPr>
        <p:spPr>
          <a:xfrm>
            <a:off x="9899578" y="1514530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82" name="Text Placeholder 7">
            <a:extLst>
              <a:ext uri="{FF2B5EF4-FFF2-40B4-BE49-F238E27FC236}">
                <a16:creationId xmlns:a16="http://schemas.microsoft.com/office/drawing/2014/main" id="{70A6267A-AA4D-B4D6-BB65-9F6D592C8F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48369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</a:t>
            </a:r>
            <a:r>
              <a:rPr lang="en-US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&amp;</a:t>
            </a:r>
            <a:endParaRPr lang="ru-RU" dirty="0"/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FA4946B4-CC2E-B392-2A22-D5D8C9499F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34154685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аймлайн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48E564D1-60CE-6D76-D022-138ED4467C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50303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</a:t>
            </a:r>
            <a:endParaRPr lang="ru-RU" dirty="0"/>
          </a:p>
        </p:txBody>
      </p:sp>
      <p:cxnSp>
        <p:nvCxnSpPr>
          <p:cNvPr id="32" name="Straight Connector 19">
            <a:extLst>
              <a:ext uri="{FF2B5EF4-FFF2-40B4-BE49-F238E27FC236}">
                <a16:creationId xmlns:a16="http://schemas.microsoft.com/office/drawing/2014/main" id="{73E6FC17-7411-D66C-6E0D-63249F49CF63}"/>
              </a:ext>
            </a:extLst>
          </p:cNvPr>
          <p:cNvCxnSpPr>
            <a:cxnSpLocks/>
          </p:cNvCxnSpPr>
          <p:nvPr userDrawn="1"/>
        </p:nvCxnSpPr>
        <p:spPr>
          <a:xfrm flipH="1">
            <a:off x="587375" y="3536950"/>
            <a:ext cx="11017250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93BD675F-C162-9AB1-0C0C-C9E47401CB38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9958560" y="1420021"/>
            <a:ext cx="1636288" cy="103742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4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05DC36D1-3B14-7995-AB00-017A6A0D6DF9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9958560" y="3941689"/>
            <a:ext cx="1636288" cy="458861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2022</a:t>
            </a:r>
            <a:endParaRPr lang="en-US" dirty="0"/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F4C6CC51-44B6-13F1-3782-2DF1A313ED24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8077200" y="4871426"/>
            <a:ext cx="1655763" cy="1257912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4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FBA91F65-893D-B84E-29A5-36EBB8079B21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8077200" y="2851939"/>
            <a:ext cx="1655764" cy="469111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2021</a:t>
            </a:r>
            <a:endParaRPr lang="en-US" dirty="0"/>
          </a:p>
        </p:txBody>
      </p:sp>
      <p:sp>
        <p:nvSpPr>
          <p:cNvPr id="61" name="Text Placeholder 7">
            <a:extLst>
              <a:ext uri="{FF2B5EF4-FFF2-40B4-BE49-F238E27FC236}">
                <a16:creationId xmlns:a16="http://schemas.microsoft.com/office/drawing/2014/main" id="{8A8BCC32-62D2-95FC-A1EA-BD8C505A5B41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6199361" y="1420021"/>
            <a:ext cx="1663381" cy="103742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4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62" name="Text Placeholder 7">
            <a:extLst>
              <a:ext uri="{FF2B5EF4-FFF2-40B4-BE49-F238E27FC236}">
                <a16:creationId xmlns:a16="http://schemas.microsoft.com/office/drawing/2014/main" id="{95BA8748-5FFE-54F4-0B56-FA726253FBAF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6203950" y="3941689"/>
            <a:ext cx="1658792" cy="458861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2020</a:t>
            </a:r>
            <a:endParaRPr lang="en-US" dirty="0"/>
          </a:p>
        </p:txBody>
      </p:sp>
      <p:sp>
        <p:nvSpPr>
          <p:cNvPr id="63" name="Text Placeholder 7">
            <a:extLst>
              <a:ext uri="{FF2B5EF4-FFF2-40B4-BE49-F238E27FC236}">
                <a16:creationId xmlns:a16="http://schemas.microsoft.com/office/drawing/2014/main" id="{0AD18D75-9805-7CAC-0957-8D3F71DE2B86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4345094" y="4871426"/>
            <a:ext cx="1642956" cy="1257912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4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8D1D7DC7-A688-2499-97DB-40FBBAD9E074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4345094" y="2851939"/>
            <a:ext cx="1642956" cy="469111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2019</a:t>
            </a:r>
            <a:endParaRPr lang="en-US" dirty="0"/>
          </a:p>
        </p:txBody>
      </p:sp>
      <p:sp>
        <p:nvSpPr>
          <p:cNvPr id="65" name="Text Placeholder 7">
            <a:extLst>
              <a:ext uri="{FF2B5EF4-FFF2-40B4-BE49-F238E27FC236}">
                <a16:creationId xmlns:a16="http://schemas.microsoft.com/office/drawing/2014/main" id="{A761127C-351E-8FD8-1C4F-DACC1585DE42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2467254" y="1420021"/>
            <a:ext cx="1663381" cy="103742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4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66" name="Text Placeholder 7">
            <a:extLst>
              <a:ext uri="{FF2B5EF4-FFF2-40B4-BE49-F238E27FC236}">
                <a16:creationId xmlns:a16="http://schemas.microsoft.com/office/drawing/2014/main" id="{75243B99-7563-6B32-8047-1004203733F7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2460481" y="3941689"/>
            <a:ext cx="1670153" cy="458861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2018</a:t>
            </a:r>
            <a:endParaRPr lang="en-US" dirty="0"/>
          </a:p>
        </p:txBody>
      </p:sp>
      <p:sp>
        <p:nvSpPr>
          <p:cNvPr id="67" name="Text Placeholder 7">
            <a:extLst>
              <a:ext uri="{FF2B5EF4-FFF2-40B4-BE49-F238E27FC236}">
                <a16:creationId xmlns:a16="http://schemas.microsoft.com/office/drawing/2014/main" id="{58D185D5-7240-4194-15E3-3B2DCA2C746A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585895" y="4871426"/>
            <a:ext cx="1655763" cy="1257912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4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68" name="Text Placeholder 7">
            <a:extLst>
              <a:ext uri="{FF2B5EF4-FFF2-40B4-BE49-F238E27FC236}">
                <a16:creationId xmlns:a16="http://schemas.microsoft.com/office/drawing/2014/main" id="{656BC3D5-18CD-FF52-C452-11CFD072C142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585895" y="2851939"/>
            <a:ext cx="1655764" cy="469111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2017</a:t>
            </a:r>
            <a:endParaRPr lang="en-US" dirty="0"/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112CF7DE-E0FF-CE1C-C782-2E30D7CFAB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7680909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аймлайн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075AC54-A106-A5E0-B4D6-B91D22F5F2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50303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.</a:t>
            </a:r>
            <a:endParaRPr lang="ru-RU" dirty="0"/>
          </a:p>
        </p:txBody>
      </p:sp>
      <p:cxnSp>
        <p:nvCxnSpPr>
          <p:cNvPr id="29" name="Straight Connector 19">
            <a:extLst>
              <a:ext uri="{FF2B5EF4-FFF2-40B4-BE49-F238E27FC236}">
                <a16:creationId xmlns:a16="http://schemas.microsoft.com/office/drawing/2014/main" id="{0CF6C201-F286-862A-BEB9-A021A43B1D32}"/>
              </a:ext>
            </a:extLst>
          </p:cNvPr>
          <p:cNvCxnSpPr>
            <a:cxnSpLocks/>
          </p:cNvCxnSpPr>
          <p:nvPr userDrawn="1"/>
        </p:nvCxnSpPr>
        <p:spPr>
          <a:xfrm flipH="1">
            <a:off x="587375" y="3536950"/>
            <a:ext cx="11017250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6D4ABBB3-67D7-3BBD-6B59-73C9A89E6294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9947276" y="1422500"/>
            <a:ext cx="1657350" cy="8190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4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DC2A6B7A-B651-FEA1-101D-54884FEAB30E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9947276" y="2215518"/>
            <a:ext cx="1657350" cy="457826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2021</a:t>
            </a:r>
            <a:endParaRPr lang="en-US" dirty="0"/>
          </a:p>
        </p:txBody>
      </p:sp>
      <p:sp>
        <p:nvSpPr>
          <p:cNvPr id="52" name="Text Placeholder 7">
            <a:extLst>
              <a:ext uri="{FF2B5EF4-FFF2-40B4-BE49-F238E27FC236}">
                <a16:creationId xmlns:a16="http://schemas.microsoft.com/office/drawing/2014/main" id="{BF6E53EC-8BAC-EBCC-4C62-AC03FFCB7FC1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8075613" y="4987203"/>
            <a:ext cx="1657350" cy="114213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4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63BEBB17-EAB7-7E45-35FB-F6A270F7622D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8075613" y="4585524"/>
            <a:ext cx="1657350" cy="46431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2020</a:t>
            </a:r>
            <a:endParaRPr lang="en-US" dirty="0"/>
          </a:p>
        </p:txBody>
      </p:sp>
      <p:sp>
        <p:nvSpPr>
          <p:cNvPr id="58" name="Рисунок 2">
            <a:extLst>
              <a:ext uri="{FF2B5EF4-FFF2-40B4-BE49-F238E27FC236}">
                <a16:creationId xmlns:a16="http://schemas.microsoft.com/office/drawing/2014/main" id="{43135DF2-10A7-CA1F-9A44-95C5567355B8}"/>
              </a:ext>
            </a:extLst>
          </p:cNvPr>
          <p:cNvSpPr>
            <a:spLocks noGrp="1"/>
          </p:cNvSpPr>
          <p:nvPr>
            <p:ph type="pic" sz="quarter" idx="95"/>
          </p:nvPr>
        </p:nvSpPr>
        <p:spPr>
          <a:xfrm>
            <a:off x="10412761" y="3178135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59" name="Рисунок 2">
            <a:extLst>
              <a:ext uri="{FF2B5EF4-FFF2-40B4-BE49-F238E27FC236}">
                <a16:creationId xmlns:a16="http://schemas.microsoft.com/office/drawing/2014/main" id="{D7300E5F-771F-4666-F133-3F64D84D52F3}"/>
              </a:ext>
            </a:extLst>
          </p:cNvPr>
          <p:cNvSpPr>
            <a:spLocks noGrp="1"/>
          </p:cNvSpPr>
          <p:nvPr>
            <p:ph type="pic" sz="quarter" idx="96"/>
          </p:nvPr>
        </p:nvSpPr>
        <p:spPr>
          <a:xfrm>
            <a:off x="8542759" y="3176587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74" name="Text Placeholder 7">
            <a:extLst>
              <a:ext uri="{FF2B5EF4-FFF2-40B4-BE49-F238E27FC236}">
                <a16:creationId xmlns:a16="http://schemas.microsoft.com/office/drawing/2014/main" id="{F1311EDC-C7DF-8FA6-BF91-AF835DAC685D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6207789" y="1422500"/>
            <a:ext cx="1657350" cy="8190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4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75" name="Text Placeholder 7">
            <a:extLst>
              <a:ext uri="{FF2B5EF4-FFF2-40B4-BE49-F238E27FC236}">
                <a16:creationId xmlns:a16="http://schemas.microsoft.com/office/drawing/2014/main" id="{F9E69DEE-B98E-6395-ACAC-5944E4B24BB7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6207789" y="2215518"/>
            <a:ext cx="1657350" cy="457826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2019</a:t>
            </a:r>
            <a:endParaRPr lang="en-US" dirty="0"/>
          </a:p>
        </p:txBody>
      </p:sp>
      <p:sp>
        <p:nvSpPr>
          <p:cNvPr id="76" name="Text Placeholder 7">
            <a:extLst>
              <a:ext uri="{FF2B5EF4-FFF2-40B4-BE49-F238E27FC236}">
                <a16:creationId xmlns:a16="http://schemas.microsoft.com/office/drawing/2014/main" id="{5DE3A50F-A923-C4D5-3984-80BB9D187BFD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4336126" y="4987203"/>
            <a:ext cx="1657350" cy="114213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4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77" name="Text Placeholder 7">
            <a:extLst>
              <a:ext uri="{FF2B5EF4-FFF2-40B4-BE49-F238E27FC236}">
                <a16:creationId xmlns:a16="http://schemas.microsoft.com/office/drawing/2014/main" id="{70831185-D838-9A7E-B33C-8E00A2594CA9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4336126" y="4585524"/>
            <a:ext cx="1657350" cy="46431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2018</a:t>
            </a:r>
            <a:endParaRPr lang="en-US" dirty="0"/>
          </a:p>
        </p:txBody>
      </p:sp>
      <p:sp>
        <p:nvSpPr>
          <p:cNvPr id="78" name="Text Placeholder 7">
            <a:extLst>
              <a:ext uri="{FF2B5EF4-FFF2-40B4-BE49-F238E27FC236}">
                <a16:creationId xmlns:a16="http://schemas.microsoft.com/office/drawing/2014/main" id="{C802BA59-BF38-A5CB-0E24-579025E02839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2461479" y="1422500"/>
            <a:ext cx="1657350" cy="81905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4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79" name="Text Placeholder 7">
            <a:extLst>
              <a:ext uri="{FF2B5EF4-FFF2-40B4-BE49-F238E27FC236}">
                <a16:creationId xmlns:a16="http://schemas.microsoft.com/office/drawing/2014/main" id="{1B4540DE-59B3-5873-020F-FB7137E86063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2461479" y="2215518"/>
            <a:ext cx="1657350" cy="457826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2017</a:t>
            </a:r>
            <a:endParaRPr lang="en-US" dirty="0"/>
          </a:p>
        </p:txBody>
      </p:sp>
      <p:sp>
        <p:nvSpPr>
          <p:cNvPr id="80" name="Text Placeholder 7">
            <a:extLst>
              <a:ext uri="{FF2B5EF4-FFF2-40B4-BE49-F238E27FC236}">
                <a16:creationId xmlns:a16="http://schemas.microsoft.com/office/drawing/2014/main" id="{857638ED-0652-AA66-9101-A82DA6B8906D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589816" y="4987203"/>
            <a:ext cx="1657350" cy="114213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4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81" name="Text Placeholder 7">
            <a:extLst>
              <a:ext uri="{FF2B5EF4-FFF2-40B4-BE49-F238E27FC236}">
                <a16:creationId xmlns:a16="http://schemas.microsoft.com/office/drawing/2014/main" id="{B60520A2-B84E-925E-2C4B-6780C6DF9DB5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589816" y="4585524"/>
            <a:ext cx="1657350" cy="464314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2016</a:t>
            </a:r>
            <a:endParaRPr lang="en-US" dirty="0"/>
          </a:p>
        </p:txBody>
      </p:sp>
      <p:sp>
        <p:nvSpPr>
          <p:cNvPr id="82" name="Рисунок 2">
            <a:extLst>
              <a:ext uri="{FF2B5EF4-FFF2-40B4-BE49-F238E27FC236}">
                <a16:creationId xmlns:a16="http://schemas.microsoft.com/office/drawing/2014/main" id="{40E82657-4136-C5A8-B078-3581FC7E367A}"/>
              </a:ext>
            </a:extLst>
          </p:cNvPr>
          <p:cNvSpPr>
            <a:spLocks noGrp="1"/>
          </p:cNvSpPr>
          <p:nvPr>
            <p:ph type="pic" sz="quarter" idx="105"/>
          </p:nvPr>
        </p:nvSpPr>
        <p:spPr>
          <a:xfrm>
            <a:off x="6673016" y="3176587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83" name="Рисунок 2">
            <a:extLst>
              <a:ext uri="{FF2B5EF4-FFF2-40B4-BE49-F238E27FC236}">
                <a16:creationId xmlns:a16="http://schemas.microsoft.com/office/drawing/2014/main" id="{ADAD0F5C-9B14-7C7E-2951-FEB4CBB073D4}"/>
              </a:ext>
            </a:extLst>
          </p:cNvPr>
          <p:cNvSpPr>
            <a:spLocks noGrp="1"/>
          </p:cNvSpPr>
          <p:nvPr>
            <p:ph type="pic" sz="quarter" idx="106"/>
          </p:nvPr>
        </p:nvSpPr>
        <p:spPr>
          <a:xfrm>
            <a:off x="4803273" y="3176587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84" name="Рисунок 2">
            <a:extLst>
              <a:ext uri="{FF2B5EF4-FFF2-40B4-BE49-F238E27FC236}">
                <a16:creationId xmlns:a16="http://schemas.microsoft.com/office/drawing/2014/main" id="{A1DAB7CC-65E4-EB98-2B14-0A62C8AD6F10}"/>
              </a:ext>
            </a:extLst>
          </p:cNvPr>
          <p:cNvSpPr>
            <a:spLocks noGrp="1"/>
          </p:cNvSpPr>
          <p:nvPr>
            <p:ph type="pic" sz="quarter" idx="107"/>
          </p:nvPr>
        </p:nvSpPr>
        <p:spPr>
          <a:xfrm>
            <a:off x="2926706" y="3176587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85" name="Рисунок 2">
            <a:extLst>
              <a:ext uri="{FF2B5EF4-FFF2-40B4-BE49-F238E27FC236}">
                <a16:creationId xmlns:a16="http://schemas.microsoft.com/office/drawing/2014/main" id="{AED75EBB-9C1F-4F19-0600-4D6F9FF0B243}"/>
              </a:ext>
            </a:extLst>
          </p:cNvPr>
          <p:cNvSpPr>
            <a:spLocks noGrp="1" noChangeAspect="1"/>
          </p:cNvSpPr>
          <p:nvPr>
            <p:ph type="pic" sz="quarter" idx="108"/>
          </p:nvPr>
        </p:nvSpPr>
        <p:spPr>
          <a:xfrm>
            <a:off x="1050138" y="3176587"/>
            <a:ext cx="720000" cy="7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A2717927-0F31-28B4-46A1-13D6984773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20194784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ели и шаги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5C5BE68A-FA25-94AC-5080-98D456A98A60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4800000" y="3111253"/>
            <a:ext cx="2592000" cy="25862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144000" tIns="18000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cxnSp>
        <p:nvCxnSpPr>
          <p:cNvPr id="42" name="Straight Connector 19">
            <a:extLst>
              <a:ext uri="{FF2B5EF4-FFF2-40B4-BE49-F238E27FC236}">
                <a16:creationId xmlns:a16="http://schemas.microsoft.com/office/drawing/2014/main" id="{91334481-BDE3-ABF9-8AAC-C49D43657CC4}"/>
              </a:ext>
            </a:extLst>
          </p:cNvPr>
          <p:cNvCxnSpPr>
            <a:cxnSpLocks/>
          </p:cNvCxnSpPr>
          <p:nvPr userDrawn="1"/>
        </p:nvCxnSpPr>
        <p:spPr>
          <a:xfrm flipH="1">
            <a:off x="587375" y="1815861"/>
            <a:ext cx="11017250" cy="0"/>
          </a:xfrm>
          <a:prstGeom prst="line">
            <a:avLst/>
          </a:prstGeom>
          <a:ln w="190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16323C00-81D4-D3D2-AA10-A1D2862CC1F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50303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</a:t>
            </a:r>
            <a:endParaRPr lang="ru-RU" dirty="0"/>
          </a:p>
        </p:txBody>
      </p:sp>
      <p:sp>
        <p:nvSpPr>
          <p:cNvPr id="26" name="Рисунок 3">
            <a:extLst>
              <a:ext uri="{FF2B5EF4-FFF2-40B4-BE49-F238E27FC236}">
                <a16:creationId xmlns:a16="http://schemas.microsoft.com/office/drawing/2014/main" id="{8184989B-B374-11F9-C153-91ABA57307E8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2639080" y="1622029"/>
            <a:ext cx="360000" cy="36036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ru-RU" dirty="0"/>
              <a:t>р</a:t>
            </a:r>
          </a:p>
        </p:txBody>
      </p:sp>
      <p:sp>
        <p:nvSpPr>
          <p:cNvPr id="27" name="Рисунок 3">
            <a:extLst>
              <a:ext uri="{FF2B5EF4-FFF2-40B4-BE49-F238E27FC236}">
                <a16:creationId xmlns:a16="http://schemas.microsoft.com/office/drawing/2014/main" id="{60DDE04D-6D00-C5C2-07CB-5AE0676D0FBE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5916940" y="1632694"/>
            <a:ext cx="360000" cy="36036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ru-RU" dirty="0"/>
              <a:t>р</a:t>
            </a:r>
          </a:p>
        </p:txBody>
      </p:sp>
      <p:sp>
        <p:nvSpPr>
          <p:cNvPr id="28" name="Рисунок 3">
            <a:extLst>
              <a:ext uri="{FF2B5EF4-FFF2-40B4-BE49-F238E27FC236}">
                <a16:creationId xmlns:a16="http://schemas.microsoft.com/office/drawing/2014/main" id="{83E23BFC-CA7E-6582-CC46-C486143997FD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9194800" y="1627981"/>
            <a:ext cx="360000" cy="36036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ru-RU" dirty="0"/>
              <a:t>р</a:t>
            </a: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AC88495F-9B19-7E44-1068-F3CCE331C179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4800000" y="2212770"/>
            <a:ext cx="2592000" cy="4605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2022</a:t>
            </a:r>
            <a:endParaRPr lang="en-US" dirty="0"/>
          </a:p>
        </p:txBody>
      </p:sp>
      <p:sp>
        <p:nvSpPr>
          <p:cNvPr id="39" name="Текст 2">
            <a:extLst>
              <a:ext uri="{FF2B5EF4-FFF2-40B4-BE49-F238E27FC236}">
                <a16:creationId xmlns:a16="http://schemas.microsoft.com/office/drawing/2014/main" id="{E5DD188E-2BE1-F943-4338-0266B1A67FF8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4800000" y="2672444"/>
            <a:ext cx="2592000" cy="43376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96A22247-7056-2C7A-5F4B-81726E586DEA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8074142" y="3111253"/>
            <a:ext cx="2592000" cy="25862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144000" tIns="18000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7AD1C0B4-B863-51CD-4E56-2A20A0C754E2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8074142" y="2212770"/>
            <a:ext cx="2592000" cy="4605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2022</a:t>
            </a:r>
            <a:endParaRPr lang="en-US" dirty="0"/>
          </a:p>
        </p:txBody>
      </p:sp>
      <p:sp>
        <p:nvSpPr>
          <p:cNvPr id="45" name="Текст 2">
            <a:extLst>
              <a:ext uri="{FF2B5EF4-FFF2-40B4-BE49-F238E27FC236}">
                <a16:creationId xmlns:a16="http://schemas.microsoft.com/office/drawing/2014/main" id="{AB6FD43A-A6D1-1D64-A6E8-EE342E8520C6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8074142" y="2672444"/>
            <a:ext cx="2592000" cy="433760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702E2BBD-8A9C-3A55-7089-A03C24888704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1525794" y="3111253"/>
            <a:ext cx="2592000" cy="25862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144000" tIns="18000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CD81A16C-032B-D943-4F8E-022C5F52BB5F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1525794" y="2212770"/>
            <a:ext cx="2592000" cy="46058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2000" b="1" kern="1200" dirty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2022</a:t>
            </a:r>
            <a:endParaRPr lang="en-US" dirty="0"/>
          </a:p>
        </p:txBody>
      </p:sp>
      <p:sp>
        <p:nvSpPr>
          <p:cNvPr id="48" name="Текст 2">
            <a:extLst>
              <a:ext uri="{FF2B5EF4-FFF2-40B4-BE49-F238E27FC236}">
                <a16:creationId xmlns:a16="http://schemas.microsoft.com/office/drawing/2014/main" id="{283DF138-3854-0EEC-A52E-648E836C60F6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1525794" y="2672444"/>
            <a:ext cx="2592000" cy="433760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460BDE59-543B-2853-9A90-F6435935CB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35022063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без логотипа_белая те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6">
            <a:extLst>
              <a:ext uri="{FF2B5EF4-FFF2-40B4-BE49-F238E27FC236}">
                <a16:creationId xmlns:a16="http://schemas.microsoft.com/office/drawing/2014/main" id="{922F8A83-E842-0475-E790-8B032B4818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70452"/>
          </a:xfrm>
          <a:prstGeom prst="rect">
            <a:avLst/>
          </a:prstGeom>
        </p:spPr>
      </p:pic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55A1C350-7CE9-1D7C-798B-1565760E0E2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0563" y="5070502"/>
            <a:ext cx="8205775" cy="2734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kern="1200" dirty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r>
              <a:rPr lang="ru-RU" dirty="0"/>
              <a:t>Наименование мероприятия / название площадки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EAD5103-D241-F2AC-667C-C1BE4D8AA9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4" y="1376363"/>
            <a:ext cx="8216901" cy="3673475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100000"/>
              </a:lnSpc>
              <a:defRPr lang="en-US" sz="4200" b="1" kern="1200" baseline="0" dirty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r>
              <a:rPr lang="ru-RU" dirty="0"/>
              <a:t>Тема презентации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B29DB6-86EE-6A43-88C8-7FF979B239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526907"/>
            <a:ext cx="6337300" cy="2734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600" b="1" kern="1200" dirty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r>
              <a:rPr lang="ru-RU" dirty="0"/>
              <a:t>ФИО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97F8D73-7FB2-E1D4-8081-E7E4FF2517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6" y="5693589"/>
            <a:ext cx="6337300" cy="27349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kern="1200" dirty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r>
              <a:rPr lang="ru-RU" dirty="0"/>
              <a:t>Должность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0CE94205-89EA-ED47-D9ED-4C9ECA4D2F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6" y="6149263"/>
            <a:ext cx="5400674" cy="2516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1" kern="1200" dirty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r>
              <a:rPr lang="ru-RU" dirty="0"/>
              <a:t>00.00.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40457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ели и шаги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Группа 45">
            <a:extLst>
              <a:ext uri="{FF2B5EF4-FFF2-40B4-BE49-F238E27FC236}">
                <a16:creationId xmlns:a16="http://schemas.microsoft.com/office/drawing/2014/main" id="{C4990D6C-9311-DD88-18CD-2D8B05A985C5}"/>
              </a:ext>
            </a:extLst>
          </p:cNvPr>
          <p:cNvGrpSpPr/>
          <p:nvPr userDrawn="1"/>
        </p:nvGrpSpPr>
        <p:grpSpPr>
          <a:xfrm>
            <a:off x="9970111" y="2521331"/>
            <a:ext cx="1620000" cy="1620000"/>
            <a:chOff x="8718966" y="2964494"/>
            <a:chExt cx="1620000" cy="1620000"/>
          </a:xfrm>
        </p:grpSpPr>
        <p:sp>
          <p:nvSpPr>
            <p:cNvPr id="47" name="Овал 46">
              <a:extLst>
                <a:ext uri="{FF2B5EF4-FFF2-40B4-BE49-F238E27FC236}">
                  <a16:creationId xmlns:a16="http://schemas.microsoft.com/office/drawing/2014/main" id="{095C58FE-3A05-D3A4-17A5-2D9D0471E1C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258730" y="3504494"/>
              <a:ext cx="540472" cy="540000"/>
            </a:xfrm>
            <a:prstGeom prst="ellipse">
              <a:avLst/>
            </a:prstGeom>
            <a:noFill/>
            <a:ln w="19050">
              <a:solidFill>
                <a:srgbClr val="7F7F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8" name="Овал 47">
              <a:extLst>
                <a:ext uri="{FF2B5EF4-FFF2-40B4-BE49-F238E27FC236}">
                  <a16:creationId xmlns:a16="http://schemas.microsoft.com/office/drawing/2014/main" id="{B807F485-E20A-31D2-1B80-C567352855E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989551" y="3234494"/>
              <a:ext cx="1078831" cy="1080000"/>
            </a:xfrm>
            <a:prstGeom prst="ellipse">
              <a:avLst/>
            </a:prstGeom>
            <a:noFill/>
            <a:ln w="19050">
              <a:solidFill>
                <a:srgbClr val="7F7F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9" name="Овал 48">
              <a:extLst>
                <a:ext uri="{FF2B5EF4-FFF2-40B4-BE49-F238E27FC236}">
                  <a16:creationId xmlns:a16="http://schemas.microsoft.com/office/drawing/2014/main" id="{3CC6D533-3A55-6142-BD04-DFC1937CE44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718966" y="2964494"/>
              <a:ext cx="1620000" cy="1620000"/>
            </a:xfrm>
            <a:prstGeom prst="ellipse">
              <a:avLst/>
            </a:prstGeom>
            <a:noFill/>
            <a:ln w="19050">
              <a:solidFill>
                <a:srgbClr val="7F7F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cxnSp>
        <p:nvCxnSpPr>
          <p:cNvPr id="50" name="Прямая со стрелкой 49">
            <a:extLst>
              <a:ext uri="{FF2B5EF4-FFF2-40B4-BE49-F238E27FC236}">
                <a16:creationId xmlns:a16="http://schemas.microsoft.com/office/drawing/2014/main" id="{B60DD052-400A-2279-0C1E-8EDA56E45C30}"/>
              </a:ext>
            </a:extLst>
          </p:cNvPr>
          <p:cNvCxnSpPr>
            <a:cxnSpLocks/>
          </p:cNvCxnSpPr>
          <p:nvPr userDrawn="1"/>
        </p:nvCxnSpPr>
        <p:spPr>
          <a:xfrm>
            <a:off x="587375" y="3309954"/>
            <a:ext cx="10192736" cy="24316"/>
          </a:xfrm>
          <a:prstGeom prst="straightConnector1">
            <a:avLst/>
          </a:prstGeom>
          <a:ln w="19050">
            <a:solidFill>
              <a:schemeClr val="accent2"/>
            </a:solidFill>
            <a:headEnd type="none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2CDE0BEA-D434-F863-B900-FC8E2E5C40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50303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</a:t>
            </a:r>
            <a:endParaRPr lang="ru-RU" dirty="0"/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75AFFEF9-433C-32F2-CF43-555D83A9CD53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1524000" y="4406908"/>
            <a:ext cx="1655763" cy="1070498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4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35" name="Рисунок 2">
            <a:extLst>
              <a:ext uri="{FF2B5EF4-FFF2-40B4-BE49-F238E27FC236}">
                <a16:creationId xmlns:a16="http://schemas.microsoft.com/office/drawing/2014/main" id="{5E662767-AEEC-D2FF-32E9-27B46C5D43E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3868532" y="2958720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36" name="Рисунок 2">
            <a:extLst>
              <a:ext uri="{FF2B5EF4-FFF2-40B4-BE49-F238E27FC236}">
                <a16:creationId xmlns:a16="http://schemas.microsoft.com/office/drawing/2014/main" id="{51E5C934-AFF7-50E2-B2FA-0AD1D1ECFA49}"/>
              </a:ext>
            </a:extLst>
          </p:cNvPr>
          <p:cNvSpPr>
            <a:spLocks noGrp="1" noChangeAspect="1"/>
          </p:cNvSpPr>
          <p:nvPr>
            <p:ph type="pic" sz="quarter" idx="92"/>
          </p:nvPr>
        </p:nvSpPr>
        <p:spPr>
          <a:xfrm>
            <a:off x="1979338" y="2956454"/>
            <a:ext cx="720000" cy="72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37" name="Рисунок 2">
            <a:extLst>
              <a:ext uri="{FF2B5EF4-FFF2-40B4-BE49-F238E27FC236}">
                <a16:creationId xmlns:a16="http://schemas.microsoft.com/office/drawing/2014/main" id="{9F97F07C-CE94-438E-5BB3-8FFE6932B2B8}"/>
              </a:ext>
            </a:extLst>
          </p:cNvPr>
          <p:cNvSpPr>
            <a:spLocks noGrp="1"/>
          </p:cNvSpPr>
          <p:nvPr>
            <p:ph type="pic" sz="quarter" idx="93"/>
          </p:nvPr>
        </p:nvSpPr>
        <p:spPr>
          <a:xfrm>
            <a:off x="7608153" y="2959195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38" name="Рисунок 2">
            <a:extLst>
              <a:ext uri="{FF2B5EF4-FFF2-40B4-BE49-F238E27FC236}">
                <a16:creationId xmlns:a16="http://schemas.microsoft.com/office/drawing/2014/main" id="{EAF8D7D8-9D7F-7977-9262-FC4750F1FB84}"/>
              </a:ext>
            </a:extLst>
          </p:cNvPr>
          <p:cNvSpPr>
            <a:spLocks noGrp="1"/>
          </p:cNvSpPr>
          <p:nvPr>
            <p:ph type="pic" sz="quarter" idx="94"/>
          </p:nvPr>
        </p:nvSpPr>
        <p:spPr>
          <a:xfrm>
            <a:off x="5735637" y="2958720"/>
            <a:ext cx="720725" cy="7207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ru-RU" dirty="0"/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EC37AD24-8260-657A-83BF-A46456205B28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7140575" y="1151467"/>
            <a:ext cx="1655763" cy="108585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4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51" name="Text Placeholder 7">
            <a:extLst>
              <a:ext uri="{FF2B5EF4-FFF2-40B4-BE49-F238E27FC236}">
                <a16:creationId xmlns:a16="http://schemas.microsoft.com/office/drawing/2014/main" id="{EE071E89-F3C6-95EE-6078-FD8A40E23738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3402110" y="1151467"/>
            <a:ext cx="1655763" cy="108585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4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52" name="Text Placeholder 7">
            <a:extLst>
              <a:ext uri="{FF2B5EF4-FFF2-40B4-BE49-F238E27FC236}">
                <a16:creationId xmlns:a16="http://schemas.microsoft.com/office/drawing/2014/main" id="{29410E7C-CB07-8AB6-F0CD-84A08590A767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5268686" y="4406908"/>
            <a:ext cx="1655763" cy="1070498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14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3DFA0D66-5D1B-FA79-43D4-0787168AD1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4538103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арта с акцентными цифр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34A08BB5-7F71-F748-9838-F96610679B7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55193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</a:t>
            </a:r>
            <a:endParaRPr lang="ru-RU" dirty="0"/>
          </a:p>
        </p:txBody>
      </p:sp>
      <p:sp>
        <p:nvSpPr>
          <p:cNvPr id="25" name="Текст 8">
            <a:extLst>
              <a:ext uri="{FF2B5EF4-FFF2-40B4-BE49-F238E27FC236}">
                <a16:creationId xmlns:a16="http://schemas.microsoft.com/office/drawing/2014/main" id="{A9E22FB7-DFAC-CB69-DAE4-307333249191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521030" y="1422146"/>
            <a:ext cx="2595357" cy="38601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126C0AF6-55CB-C3E4-6DCC-3754B9B9B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6188" y="1214304"/>
            <a:ext cx="957812" cy="6226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4800" b="1" kern="1200" dirty="0">
                <a:gradFill flip="none" rotWithShape="1">
                  <a:gsLst>
                    <a:gs pos="0">
                      <a:schemeClr val="accent1"/>
                    </a:gs>
                    <a:gs pos="97000">
                      <a:schemeClr val="accent3"/>
                    </a:gs>
                  </a:gsLst>
                  <a:lin ang="16200000" scaled="1"/>
                  <a:tileRect/>
                </a:gra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01</a:t>
            </a:r>
            <a:endParaRPr lang="en-US" dirty="0"/>
          </a:p>
        </p:txBody>
      </p:sp>
      <p:sp>
        <p:nvSpPr>
          <p:cNvPr id="52" name="Текст 8">
            <a:extLst>
              <a:ext uri="{FF2B5EF4-FFF2-40B4-BE49-F238E27FC236}">
                <a16:creationId xmlns:a16="http://schemas.microsoft.com/office/drawing/2014/main" id="{4F32A9E4-17A1-4139-2326-7E03A0AD493C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5276308" y="1422146"/>
            <a:ext cx="2584992" cy="38601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297AAE43-5592-3BEB-6EB4-273B41955BC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309513" y="1214304"/>
            <a:ext cx="957812" cy="6226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4800" b="1" kern="1200" dirty="0">
                <a:gradFill flip="none" rotWithShape="1">
                  <a:gsLst>
                    <a:gs pos="0">
                      <a:schemeClr val="accent1"/>
                    </a:gs>
                    <a:gs pos="97000">
                      <a:schemeClr val="accent3"/>
                    </a:gs>
                  </a:gsLst>
                  <a:lin ang="16200000" scaled="1"/>
                  <a:tileRect/>
                </a:gra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lvl="0" indent="0" algn="l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charset="0"/>
              <a:buNone/>
            </a:pPr>
            <a:r>
              <a:rPr lang="ru-RU" dirty="0"/>
              <a:t>02</a:t>
            </a:r>
            <a:endParaRPr lang="en-US" dirty="0"/>
          </a:p>
        </p:txBody>
      </p:sp>
      <p:sp>
        <p:nvSpPr>
          <p:cNvPr id="54" name="Текст 8">
            <a:extLst>
              <a:ext uri="{FF2B5EF4-FFF2-40B4-BE49-F238E27FC236}">
                <a16:creationId xmlns:a16="http://schemas.microsoft.com/office/drawing/2014/main" id="{CCA4A078-D74E-FF15-7BA9-58FEA88D84FB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9017578" y="1422146"/>
            <a:ext cx="2608233" cy="38601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55" name="Text Placeholder 7">
            <a:extLst>
              <a:ext uri="{FF2B5EF4-FFF2-40B4-BE49-F238E27FC236}">
                <a16:creationId xmlns:a16="http://schemas.microsoft.com/office/drawing/2014/main" id="{0B47BC70-19D7-98B3-A5F0-7A32813533F3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050784" y="1214304"/>
            <a:ext cx="957812" cy="6226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defRPr lang="en-US" sz="4800" b="1" kern="1200" dirty="0">
                <a:gradFill flip="none" rotWithShape="1">
                  <a:gsLst>
                    <a:gs pos="0">
                      <a:schemeClr val="accent1"/>
                    </a:gs>
                    <a:gs pos="97000">
                      <a:schemeClr val="accent3"/>
                    </a:gs>
                  </a:gsLst>
                  <a:lin ang="16200000" scaled="1"/>
                  <a:tileRect/>
                </a:gra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lvl="0" indent="0" algn="l" defTabSz="1042690" rtl="0" eaLnBrk="1" latinLnBrk="0" hangingPunct="1">
              <a:lnSpc>
                <a:spcPct val="100000"/>
              </a:lnSpc>
              <a:spcBef>
                <a:spcPts val="0"/>
              </a:spcBef>
              <a:buFont typeface="Arial" charset="0"/>
              <a:buNone/>
            </a:pPr>
            <a:r>
              <a:rPr lang="ru-RU" dirty="0"/>
              <a:t>03</a:t>
            </a:r>
            <a:endParaRPr lang="en-US" dirty="0"/>
          </a:p>
        </p:txBody>
      </p:sp>
      <p:sp>
        <p:nvSpPr>
          <p:cNvPr id="56" name="Текст 8">
            <a:extLst>
              <a:ext uri="{FF2B5EF4-FFF2-40B4-BE49-F238E27FC236}">
                <a16:creationId xmlns:a16="http://schemas.microsoft.com/office/drawing/2014/main" id="{42CD71CD-5F8C-DBB5-FF98-800078E5B13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69160" y="2522358"/>
            <a:ext cx="2210603" cy="58279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57" name="Текст 8">
            <a:extLst>
              <a:ext uri="{FF2B5EF4-FFF2-40B4-BE49-F238E27FC236}">
                <a16:creationId xmlns:a16="http://schemas.microsoft.com/office/drawing/2014/main" id="{97DD3B0F-01AD-8211-0657-598D2F8584D1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69160" y="3390996"/>
            <a:ext cx="2210603" cy="58279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58" name="Текст 8">
            <a:extLst>
              <a:ext uri="{FF2B5EF4-FFF2-40B4-BE49-F238E27FC236}">
                <a16:creationId xmlns:a16="http://schemas.microsoft.com/office/drawing/2014/main" id="{0FCC5F91-EFDC-260E-8C43-6CCF0D7C5330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69160" y="4255638"/>
            <a:ext cx="2210603" cy="58279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59" name="Текст 8">
            <a:extLst>
              <a:ext uri="{FF2B5EF4-FFF2-40B4-BE49-F238E27FC236}">
                <a16:creationId xmlns:a16="http://schemas.microsoft.com/office/drawing/2014/main" id="{967C2DBB-9BC1-6211-89CF-ECF3DE32283F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969160" y="5124031"/>
            <a:ext cx="2210603" cy="58279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4CB7F40A-A31D-B8CC-2842-E544203010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2273851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арта с обознач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34A08BB5-7F71-F748-9838-F96610679B7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55193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</a:t>
            </a:r>
            <a:endParaRPr lang="ru-RU" dirty="0"/>
          </a:p>
        </p:txBody>
      </p:sp>
      <p:sp>
        <p:nvSpPr>
          <p:cNvPr id="22" name="Текст 8">
            <a:extLst>
              <a:ext uri="{FF2B5EF4-FFF2-40B4-BE49-F238E27FC236}">
                <a16:creationId xmlns:a16="http://schemas.microsoft.com/office/drawing/2014/main" id="{39ED8448-0DEE-3A00-B0BB-A5875C8DF94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47581" y="5334433"/>
            <a:ext cx="1197024" cy="57900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3" name="Текст 8">
            <a:extLst>
              <a:ext uri="{FF2B5EF4-FFF2-40B4-BE49-F238E27FC236}">
                <a16:creationId xmlns:a16="http://schemas.microsoft.com/office/drawing/2014/main" id="{4ED15647-14A7-D3C7-CBEA-6A9F8A9D3D29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922101" y="5334433"/>
            <a:ext cx="1197024" cy="57900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5" name="Текст 8">
            <a:extLst>
              <a:ext uri="{FF2B5EF4-FFF2-40B4-BE49-F238E27FC236}">
                <a16:creationId xmlns:a16="http://schemas.microsoft.com/office/drawing/2014/main" id="{1200CD3B-9CD8-72EA-6813-01D29128ADB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796621" y="5334433"/>
            <a:ext cx="1197024" cy="57900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7" name="Текст 8">
            <a:extLst>
              <a:ext uri="{FF2B5EF4-FFF2-40B4-BE49-F238E27FC236}">
                <a16:creationId xmlns:a16="http://schemas.microsoft.com/office/drawing/2014/main" id="{7E338DDE-3958-B2D8-EA26-5C008CB75E07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663521" y="5334433"/>
            <a:ext cx="1197024" cy="57900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9" name="Текст 8">
            <a:extLst>
              <a:ext uri="{FF2B5EF4-FFF2-40B4-BE49-F238E27FC236}">
                <a16:creationId xmlns:a16="http://schemas.microsoft.com/office/drawing/2014/main" id="{399084C8-D153-DC09-874A-13C00A7F009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538041" y="5334433"/>
            <a:ext cx="1197024" cy="57900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51" name="Текст 8">
            <a:extLst>
              <a:ext uri="{FF2B5EF4-FFF2-40B4-BE49-F238E27FC236}">
                <a16:creationId xmlns:a16="http://schemas.microsoft.com/office/drawing/2014/main" id="{28C3BAB9-0EB1-F6FB-14EE-F52A39E031F2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10412561" y="5334433"/>
            <a:ext cx="1197024" cy="57900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ED45ADA9-B34B-4960-4B15-6BA3488737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21943472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арта с текстовыми бло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7428A25B-F77E-904A-9788-AAD98786644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55193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</a:t>
            </a:r>
            <a:endParaRPr lang="ru-RU" dirty="0"/>
          </a:p>
        </p:txBody>
      </p:sp>
      <p:sp>
        <p:nvSpPr>
          <p:cNvPr id="14" name="Текст 13">
            <a:extLst>
              <a:ext uri="{FF2B5EF4-FFF2-40B4-BE49-F238E27FC236}">
                <a16:creationId xmlns:a16="http://schemas.microsoft.com/office/drawing/2014/main" id="{C2392820-FBA5-6B1A-6EBE-6C6E0F70B0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3175" y="1154821"/>
            <a:ext cx="2584508" cy="43744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5" name="Текст 8">
            <a:extLst>
              <a:ext uri="{FF2B5EF4-FFF2-40B4-BE49-F238E27FC236}">
                <a16:creationId xmlns:a16="http://schemas.microsoft.com/office/drawing/2014/main" id="{F4D81443-31E5-C019-5895-FCB3F9BAAB3A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3717563" y="1223736"/>
            <a:ext cx="2270487" cy="101781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23" name="Текст 8">
            <a:extLst>
              <a:ext uri="{FF2B5EF4-FFF2-40B4-BE49-F238E27FC236}">
                <a16:creationId xmlns:a16="http://schemas.microsoft.com/office/drawing/2014/main" id="{4CE43293-E331-46AF-745A-540484208AD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525367" y="1223736"/>
            <a:ext cx="2270487" cy="101781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24" name="Текст 8">
            <a:extLst>
              <a:ext uri="{FF2B5EF4-FFF2-40B4-BE49-F238E27FC236}">
                <a16:creationId xmlns:a16="http://schemas.microsoft.com/office/drawing/2014/main" id="{5BBD7C0C-453F-DBC8-EE2B-F0B12FAA7446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9338140" y="1223736"/>
            <a:ext cx="2270487" cy="101781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29" name="Текст 8">
            <a:extLst>
              <a:ext uri="{FF2B5EF4-FFF2-40B4-BE49-F238E27FC236}">
                <a16:creationId xmlns:a16="http://schemas.microsoft.com/office/drawing/2014/main" id="{2072BC85-E195-65D4-601F-5B940F83B6F3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9338140" y="2524391"/>
            <a:ext cx="2270487" cy="101781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30" name="Текст 8">
            <a:extLst>
              <a:ext uri="{FF2B5EF4-FFF2-40B4-BE49-F238E27FC236}">
                <a16:creationId xmlns:a16="http://schemas.microsoft.com/office/drawing/2014/main" id="{D8AD0B68-5844-9965-9918-82A992ABEF9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338140" y="3817164"/>
            <a:ext cx="2270487" cy="101781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31" name="Текст 8">
            <a:extLst>
              <a:ext uri="{FF2B5EF4-FFF2-40B4-BE49-F238E27FC236}">
                <a16:creationId xmlns:a16="http://schemas.microsoft.com/office/drawing/2014/main" id="{CFD6D04E-DC48-528E-FF05-12E2B401079C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338140" y="5117819"/>
            <a:ext cx="2270487" cy="101781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23D53450-9E53-55C2-902F-E0DD6436D0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1864397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арта с таблиц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аблица 3">
            <a:extLst>
              <a:ext uri="{FF2B5EF4-FFF2-40B4-BE49-F238E27FC236}">
                <a16:creationId xmlns:a16="http://schemas.microsoft.com/office/drawing/2014/main" id="{CDCB8405-76D7-D04F-8D69-A5DF67151015}"/>
              </a:ext>
            </a:extLst>
          </p:cNvPr>
          <p:cNvSpPr>
            <a:spLocks noGrp="1"/>
          </p:cNvSpPr>
          <p:nvPr>
            <p:ph type="tbl" sz="quarter" idx="52" hasCustomPrompt="1"/>
          </p:nvPr>
        </p:nvSpPr>
        <p:spPr>
          <a:xfrm>
            <a:off x="587375" y="5049838"/>
            <a:ext cx="7273925" cy="10847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</a:lstStyle>
          <a:p>
            <a:r>
              <a:rPr lang="ru-RU" dirty="0"/>
              <a:t>Таблица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BBAFA3D-EDE7-B34D-8CE1-0E55F5E9B2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55193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</a:t>
            </a:r>
            <a:endParaRPr lang="ru-RU" dirty="0"/>
          </a:p>
        </p:txBody>
      </p:sp>
      <p:sp>
        <p:nvSpPr>
          <p:cNvPr id="12" name="Текст 8">
            <a:extLst>
              <a:ext uri="{FF2B5EF4-FFF2-40B4-BE49-F238E27FC236}">
                <a16:creationId xmlns:a16="http://schemas.microsoft.com/office/drawing/2014/main" id="{9991EA84-528B-841D-AB53-51B7274342C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401185" y="1222696"/>
            <a:ext cx="3203440" cy="101781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3" name="Текст 8">
            <a:extLst>
              <a:ext uri="{FF2B5EF4-FFF2-40B4-BE49-F238E27FC236}">
                <a16:creationId xmlns:a16="http://schemas.microsoft.com/office/drawing/2014/main" id="{3BFE5FC3-1EFD-DABC-2385-0D7363FB2B25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401185" y="2523351"/>
            <a:ext cx="3203440" cy="101781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4" name="Текст 8">
            <a:extLst>
              <a:ext uri="{FF2B5EF4-FFF2-40B4-BE49-F238E27FC236}">
                <a16:creationId xmlns:a16="http://schemas.microsoft.com/office/drawing/2014/main" id="{39A64651-5F05-7039-9EDF-AF9538440CEB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401185" y="3816124"/>
            <a:ext cx="3203440" cy="101781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5" name="Текст 8">
            <a:extLst>
              <a:ext uri="{FF2B5EF4-FFF2-40B4-BE49-F238E27FC236}">
                <a16:creationId xmlns:a16="http://schemas.microsoft.com/office/drawing/2014/main" id="{95CDF128-6554-90EF-23C8-8D173720437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401185" y="5116779"/>
            <a:ext cx="3203440" cy="101781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6D7CB80E-0CCF-2574-960E-B227B8BD2B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33617556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Текст 8">
            <a:extLst>
              <a:ext uri="{FF2B5EF4-FFF2-40B4-BE49-F238E27FC236}">
                <a16:creationId xmlns:a16="http://schemas.microsoft.com/office/drawing/2014/main" id="{1E974796-7AE0-EF46-B1A0-E207CA97A9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87375" y="1393108"/>
            <a:ext cx="2592388" cy="41505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27" name="Текст 8">
            <a:extLst>
              <a:ext uri="{FF2B5EF4-FFF2-40B4-BE49-F238E27FC236}">
                <a16:creationId xmlns:a16="http://schemas.microsoft.com/office/drawing/2014/main" id="{E26C0338-9526-6645-AA6F-0613F77B53E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87375" y="2098037"/>
            <a:ext cx="2592388" cy="101732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4" name="Рисунок SmartArt 2">
            <a:extLst>
              <a:ext uri="{FF2B5EF4-FFF2-40B4-BE49-F238E27FC236}">
                <a16:creationId xmlns:a16="http://schemas.microsoft.com/office/drawing/2014/main" id="{225A6F7B-91D9-5940-BE3F-1B3D58B6262A}"/>
              </a:ext>
            </a:extLst>
          </p:cNvPr>
          <p:cNvSpPr>
            <a:spLocks noGrp="1"/>
          </p:cNvSpPr>
          <p:nvPr>
            <p:ph type="dgm" sz="quarter" idx="37" hasCustomPrompt="1"/>
          </p:nvPr>
        </p:nvSpPr>
        <p:spPr>
          <a:xfrm>
            <a:off x="3395663" y="1371600"/>
            <a:ext cx="5409368" cy="4541838"/>
          </a:xfrm>
          <a:prstGeom prst="rect">
            <a:avLst/>
          </a:prstGeom>
        </p:spPr>
        <p:txBody>
          <a:bodyPr/>
          <a:lstStyle>
            <a:lvl1pPr marL="0" marR="0" indent="0" algn="l" defTabSz="1042690" rtl="0" eaLnBrk="1" fontAlgn="auto" latinLnBrk="0" hangingPunct="1">
              <a:lnSpc>
                <a:spcPct val="90000"/>
              </a:lnSpc>
              <a:spcBef>
                <a:spcPts val="114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1042690" rtl="0" eaLnBrk="1" fontAlgn="auto" latinLnBrk="0" hangingPunct="1">
              <a:lnSpc>
                <a:spcPct val="90000"/>
              </a:lnSpc>
              <a:spcBef>
                <a:spcPts val="114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martArt</a:t>
            </a:r>
            <a:endParaRPr lang="ru-RU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148A6A7-3249-4948-A8C0-FBF4414D8C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55193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</a:t>
            </a:r>
            <a:endParaRPr lang="ru-RU" dirty="0"/>
          </a:p>
        </p:txBody>
      </p:sp>
      <p:sp>
        <p:nvSpPr>
          <p:cNvPr id="15" name="Текст 8">
            <a:extLst>
              <a:ext uri="{FF2B5EF4-FFF2-40B4-BE49-F238E27FC236}">
                <a16:creationId xmlns:a16="http://schemas.microsoft.com/office/drawing/2014/main" id="{EAAAAF2A-C76A-21E6-F4F8-DEAE5D35593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87375" y="4202223"/>
            <a:ext cx="2592388" cy="41505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23" name="Текст 8">
            <a:extLst>
              <a:ext uri="{FF2B5EF4-FFF2-40B4-BE49-F238E27FC236}">
                <a16:creationId xmlns:a16="http://schemas.microsoft.com/office/drawing/2014/main" id="{9706AB34-6908-732D-446B-30330D83BCA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87375" y="4901375"/>
            <a:ext cx="2592388" cy="101732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24" name="Текст 8">
            <a:extLst>
              <a:ext uri="{FF2B5EF4-FFF2-40B4-BE49-F238E27FC236}">
                <a16:creationId xmlns:a16="http://schemas.microsoft.com/office/drawing/2014/main" id="{01D4338F-D347-B3BC-7948-9BE24289389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012787" y="1393108"/>
            <a:ext cx="2592388" cy="41505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25" name="Текст 8">
            <a:extLst>
              <a:ext uri="{FF2B5EF4-FFF2-40B4-BE49-F238E27FC236}">
                <a16:creationId xmlns:a16="http://schemas.microsoft.com/office/drawing/2014/main" id="{23B21BEC-B2C6-F370-603A-64F8ECF39D0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012787" y="2094454"/>
            <a:ext cx="2592388" cy="101732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28" name="Текст 8">
            <a:extLst>
              <a:ext uri="{FF2B5EF4-FFF2-40B4-BE49-F238E27FC236}">
                <a16:creationId xmlns:a16="http://schemas.microsoft.com/office/drawing/2014/main" id="{1D48842D-9F7E-3985-58B8-620BECC6D74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012787" y="4202223"/>
            <a:ext cx="2592388" cy="41505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29" name="Текст 8">
            <a:extLst>
              <a:ext uri="{FF2B5EF4-FFF2-40B4-BE49-F238E27FC236}">
                <a16:creationId xmlns:a16="http://schemas.microsoft.com/office/drawing/2014/main" id="{DED1CD50-283A-A078-D8C8-2506EA6424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012787" y="4901375"/>
            <a:ext cx="2592388" cy="101732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75B283FC-4AD9-6B3D-C76A-76B1475503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1357571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F00BDD2-13E8-8C42-85F3-30750BE333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455193"/>
            <a:ext cx="10296525" cy="146459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</a:t>
            </a:r>
            <a:endParaRPr lang="ru-RU" dirty="0"/>
          </a:p>
        </p:txBody>
      </p:sp>
      <p:sp>
        <p:nvSpPr>
          <p:cNvPr id="29" name="Рисунок SmartArt 2">
            <a:extLst>
              <a:ext uri="{FF2B5EF4-FFF2-40B4-BE49-F238E27FC236}">
                <a16:creationId xmlns:a16="http://schemas.microsoft.com/office/drawing/2014/main" id="{B322744A-E826-CE60-5EFE-E45D51807D5A}"/>
              </a:ext>
            </a:extLst>
          </p:cNvPr>
          <p:cNvSpPr>
            <a:spLocks noGrp="1"/>
          </p:cNvSpPr>
          <p:nvPr>
            <p:ph type="dgm" sz="quarter" idx="37" hasCustomPrompt="1"/>
          </p:nvPr>
        </p:nvSpPr>
        <p:spPr>
          <a:xfrm>
            <a:off x="3395663" y="1371600"/>
            <a:ext cx="5409368" cy="4757738"/>
          </a:xfrm>
          <a:prstGeom prst="rect">
            <a:avLst/>
          </a:prstGeom>
        </p:spPr>
        <p:txBody>
          <a:bodyPr/>
          <a:lstStyle>
            <a:lvl1pPr marL="0" marR="0" indent="0" algn="l" defTabSz="1042690" rtl="0" eaLnBrk="1" fontAlgn="auto" latinLnBrk="0" hangingPunct="1">
              <a:lnSpc>
                <a:spcPct val="90000"/>
              </a:lnSpc>
              <a:spcBef>
                <a:spcPts val="114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1042690" rtl="0" eaLnBrk="1" fontAlgn="auto" latinLnBrk="0" hangingPunct="1">
              <a:lnSpc>
                <a:spcPct val="90000"/>
              </a:lnSpc>
              <a:spcBef>
                <a:spcPts val="114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martArt</a:t>
            </a:r>
            <a:endParaRPr lang="ru-RU" dirty="0"/>
          </a:p>
        </p:txBody>
      </p:sp>
      <p:sp>
        <p:nvSpPr>
          <p:cNvPr id="30" name="Текст 8">
            <a:extLst>
              <a:ext uri="{FF2B5EF4-FFF2-40B4-BE49-F238E27FC236}">
                <a16:creationId xmlns:a16="http://schemas.microsoft.com/office/drawing/2014/main" id="{72C98E2C-76F1-1274-EA2B-12A5413F1E3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97655" y="1441923"/>
            <a:ext cx="1871663" cy="38888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32" name="Текст 8">
            <a:extLst>
              <a:ext uri="{FF2B5EF4-FFF2-40B4-BE49-F238E27FC236}">
                <a16:creationId xmlns:a16="http://schemas.microsoft.com/office/drawing/2014/main" id="{E9B8CF1F-FC6D-E148-F54E-4C9FD08358B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97656" y="1877803"/>
            <a:ext cx="1871663" cy="79554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34" name="Текст 8">
            <a:extLst>
              <a:ext uri="{FF2B5EF4-FFF2-40B4-BE49-F238E27FC236}">
                <a16:creationId xmlns:a16="http://schemas.microsoft.com/office/drawing/2014/main" id="{729FA38B-C647-5A41-506F-F98EEAB9F72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97655" y="4897910"/>
            <a:ext cx="1871663" cy="38888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36" name="Текст 8">
            <a:extLst>
              <a:ext uri="{FF2B5EF4-FFF2-40B4-BE49-F238E27FC236}">
                <a16:creationId xmlns:a16="http://schemas.microsoft.com/office/drawing/2014/main" id="{7437F790-2D3E-02A9-8F7E-5CA434E656F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97656" y="5333790"/>
            <a:ext cx="1871663" cy="79554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9" name="Текст 8">
            <a:extLst>
              <a:ext uri="{FF2B5EF4-FFF2-40B4-BE49-F238E27FC236}">
                <a16:creationId xmlns:a16="http://schemas.microsoft.com/office/drawing/2014/main" id="{E6065243-12B6-8947-EBB2-83EAE7DFC8D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97655" y="3168351"/>
            <a:ext cx="1871663" cy="38888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50" name="Текст 8">
            <a:extLst>
              <a:ext uri="{FF2B5EF4-FFF2-40B4-BE49-F238E27FC236}">
                <a16:creationId xmlns:a16="http://schemas.microsoft.com/office/drawing/2014/main" id="{6E345ABB-4103-F5C6-4035-C328E11BE0E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97656" y="3604231"/>
            <a:ext cx="1871663" cy="79554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52" name="Текст 8">
            <a:extLst>
              <a:ext uri="{FF2B5EF4-FFF2-40B4-BE49-F238E27FC236}">
                <a16:creationId xmlns:a16="http://schemas.microsoft.com/office/drawing/2014/main" id="{EE193FD2-BA4C-F3A2-1B59-C295AC6AD28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731374" y="1441923"/>
            <a:ext cx="1871663" cy="38888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53" name="Текст 8">
            <a:extLst>
              <a:ext uri="{FF2B5EF4-FFF2-40B4-BE49-F238E27FC236}">
                <a16:creationId xmlns:a16="http://schemas.microsoft.com/office/drawing/2014/main" id="{C7535AF5-03EE-A45F-2145-393F7FA8CE0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731375" y="1877803"/>
            <a:ext cx="1871663" cy="79554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55" name="Текст 8">
            <a:extLst>
              <a:ext uri="{FF2B5EF4-FFF2-40B4-BE49-F238E27FC236}">
                <a16:creationId xmlns:a16="http://schemas.microsoft.com/office/drawing/2014/main" id="{0EE1B4FC-2264-3C56-4449-4FAC5A3F8027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731374" y="4897910"/>
            <a:ext cx="1871663" cy="38888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56" name="Текст 8">
            <a:extLst>
              <a:ext uri="{FF2B5EF4-FFF2-40B4-BE49-F238E27FC236}">
                <a16:creationId xmlns:a16="http://schemas.microsoft.com/office/drawing/2014/main" id="{8AC4C972-2EE9-AF5A-9A51-A9FAEE882A27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731375" y="5333790"/>
            <a:ext cx="1871663" cy="79554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58" name="Текст 8">
            <a:extLst>
              <a:ext uri="{FF2B5EF4-FFF2-40B4-BE49-F238E27FC236}">
                <a16:creationId xmlns:a16="http://schemas.microsoft.com/office/drawing/2014/main" id="{A65E9A29-34AE-8EFC-3757-5C6F359B81FB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731374" y="3168351"/>
            <a:ext cx="1871663" cy="38888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59" name="Текст 8">
            <a:extLst>
              <a:ext uri="{FF2B5EF4-FFF2-40B4-BE49-F238E27FC236}">
                <a16:creationId xmlns:a16="http://schemas.microsoft.com/office/drawing/2014/main" id="{2C286D4A-2DC9-2E0C-FAC0-DFEAC7B2A73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731375" y="3604231"/>
            <a:ext cx="1871663" cy="79554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DBC9FC95-10D6-1ABA-B677-E206ED2A45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42191548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SmartArt 2">
            <a:extLst>
              <a:ext uri="{FF2B5EF4-FFF2-40B4-BE49-F238E27FC236}">
                <a16:creationId xmlns:a16="http://schemas.microsoft.com/office/drawing/2014/main" id="{3A2F8166-FB68-6C42-B7EA-A15FBFCD021F}"/>
              </a:ext>
            </a:extLst>
          </p:cNvPr>
          <p:cNvSpPr>
            <a:spLocks noGrp="1"/>
          </p:cNvSpPr>
          <p:nvPr>
            <p:ph type="dgm" sz="quarter" idx="37" hasCustomPrompt="1"/>
          </p:nvPr>
        </p:nvSpPr>
        <p:spPr>
          <a:xfrm>
            <a:off x="587374" y="1371600"/>
            <a:ext cx="6337301" cy="47527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24"/>
            </a:lvl1pPr>
          </a:lstStyle>
          <a:p>
            <a:r>
              <a:rPr lang="en-US" dirty="0"/>
              <a:t>SmartArt</a:t>
            </a:r>
            <a:endParaRPr lang="ru-RU" dirty="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47178134-A8AC-B34C-A564-F8F070C18E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5" y="6345238"/>
            <a:ext cx="10296525" cy="256414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*</a:t>
            </a:r>
            <a:r>
              <a:rPr lang="en-US" dirty="0"/>
              <a:t> </a:t>
            </a:r>
            <a:r>
              <a:rPr lang="ru-RU" sz="1200" b="0" i="0" u="none" strike="noStrike" cap="none" spc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</a:rPr>
              <a:t>Место для указания источников, сносок и примечаний</a:t>
            </a:r>
            <a:endParaRPr lang="ru-RU" dirty="0"/>
          </a:p>
        </p:txBody>
      </p:sp>
      <p:sp>
        <p:nvSpPr>
          <p:cNvPr id="24" name="Текст 8">
            <a:extLst>
              <a:ext uri="{FF2B5EF4-FFF2-40B4-BE49-F238E27FC236}">
                <a16:creationId xmlns:a16="http://schemas.microsoft.com/office/drawing/2014/main" id="{69A4181B-E480-0762-AF55-6A59129E5C06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078189" y="1664520"/>
            <a:ext cx="3526437" cy="57703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33" name="Текст 8">
            <a:extLst>
              <a:ext uri="{FF2B5EF4-FFF2-40B4-BE49-F238E27FC236}">
                <a16:creationId xmlns:a16="http://schemas.microsoft.com/office/drawing/2014/main" id="{9264973F-DC70-7609-AD64-D672A9C2CB1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078190" y="1447037"/>
            <a:ext cx="3526437" cy="373914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35" name="Текст 8">
            <a:extLst>
              <a:ext uri="{FF2B5EF4-FFF2-40B4-BE49-F238E27FC236}">
                <a16:creationId xmlns:a16="http://schemas.microsoft.com/office/drawing/2014/main" id="{450DC13B-9967-77E1-E1D7-B092EA3131C3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8078189" y="2954629"/>
            <a:ext cx="3526437" cy="57703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36" name="Текст 8">
            <a:extLst>
              <a:ext uri="{FF2B5EF4-FFF2-40B4-BE49-F238E27FC236}">
                <a16:creationId xmlns:a16="http://schemas.microsoft.com/office/drawing/2014/main" id="{E676DFA1-FE77-56F5-8AD3-D810B4CF127D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8078190" y="2737146"/>
            <a:ext cx="3526437" cy="373914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38" name="Текст 8">
            <a:extLst>
              <a:ext uri="{FF2B5EF4-FFF2-40B4-BE49-F238E27FC236}">
                <a16:creationId xmlns:a16="http://schemas.microsoft.com/office/drawing/2014/main" id="{5676C09D-EA21-FA68-E51F-335B94618394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8078189" y="4253746"/>
            <a:ext cx="3526437" cy="57703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39" name="Текст 8">
            <a:extLst>
              <a:ext uri="{FF2B5EF4-FFF2-40B4-BE49-F238E27FC236}">
                <a16:creationId xmlns:a16="http://schemas.microsoft.com/office/drawing/2014/main" id="{0D2A2B71-727F-FA4A-8169-B5BF85B67911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8078190" y="4036263"/>
            <a:ext cx="3526437" cy="373914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41" name="Текст 8">
            <a:extLst>
              <a:ext uri="{FF2B5EF4-FFF2-40B4-BE49-F238E27FC236}">
                <a16:creationId xmlns:a16="http://schemas.microsoft.com/office/drawing/2014/main" id="{D667EDFF-7EA3-C3C1-F47D-040A6AAAA901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8078189" y="5547288"/>
            <a:ext cx="3526437" cy="57703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2" name="Текст 8">
            <a:extLst>
              <a:ext uri="{FF2B5EF4-FFF2-40B4-BE49-F238E27FC236}">
                <a16:creationId xmlns:a16="http://schemas.microsoft.com/office/drawing/2014/main" id="{B438EBEB-A0CE-661E-D604-2198EF577C94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8078190" y="5329805"/>
            <a:ext cx="3526437" cy="373914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8D1A24A2-D585-2226-65A6-C3EFC1D07C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lang="ru-RU" sz="2300" b="1" kern="120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</p:spTree>
    <p:extLst>
      <p:ext uri="{BB962C8B-B14F-4D97-AF65-F5344CB8AC3E}">
        <p14:creationId xmlns:p14="http://schemas.microsoft.com/office/powerpoint/2010/main" val="10788615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_белая те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6">
            <a:extLst>
              <a:ext uri="{FF2B5EF4-FFF2-40B4-BE49-F238E27FC236}">
                <a16:creationId xmlns:a16="http://schemas.microsoft.com/office/drawing/2014/main" id="{D7082DC7-4E8A-E7F9-1496-13F239DDA9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70452"/>
          </a:xfrm>
          <a:prstGeom prst="rect">
            <a:avLst/>
          </a:prstGeom>
        </p:spPr>
      </p:pic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1E484D0-D81B-D22D-780D-CDA8E22018F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5125" y="2356225"/>
            <a:ext cx="5401802" cy="18139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lang="en-US" sz="4800" b="1" kern="1200" dirty="0">
                <a:solidFill>
                  <a:schemeClr val="tx1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pPr lvl="0"/>
            <a:r>
              <a:rPr lang="ru-RU" dirty="0"/>
              <a:t>Спасибо </a:t>
            </a:r>
            <a:br>
              <a:rPr lang="ru-RU" dirty="0"/>
            </a:br>
            <a:r>
              <a:rPr lang="ru-RU" dirty="0"/>
              <a:t>за внимание</a:t>
            </a:r>
            <a:endParaRPr lang="en-US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6B817115-CC11-4117-5783-D086C7107F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4580" y="6174183"/>
            <a:ext cx="5402347" cy="288567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/>
              <a:t>00.00.202</a:t>
            </a:r>
            <a:r>
              <a:rPr lang="en-US" dirty="0"/>
              <a:t>3</a:t>
            </a:r>
            <a:endParaRPr lang="ru-RU" dirty="0"/>
          </a:p>
        </p:txBody>
      </p:sp>
      <p:sp>
        <p:nvSpPr>
          <p:cNvPr id="6" name="Текст 4">
            <a:extLst>
              <a:ext uri="{FF2B5EF4-FFF2-40B4-BE49-F238E27FC236}">
                <a16:creationId xmlns:a16="http://schemas.microsoft.com/office/drawing/2014/main" id="{28DAFDBF-B8C9-0E04-5780-83D3D76387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4208" y="5704782"/>
            <a:ext cx="5402719" cy="28856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/>
              <a:t>Контактная информация</a:t>
            </a:r>
          </a:p>
        </p:txBody>
      </p:sp>
      <p:sp>
        <p:nvSpPr>
          <p:cNvPr id="7" name="Текст 4">
            <a:extLst>
              <a:ext uri="{FF2B5EF4-FFF2-40B4-BE49-F238E27FC236}">
                <a16:creationId xmlns:a16="http://schemas.microsoft.com/office/drawing/2014/main" id="{43339245-63F7-710B-3C32-FF1B80B5EE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4208" y="5256966"/>
            <a:ext cx="5402719" cy="24761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/>
              <a:t>ФИО</a:t>
            </a:r>
          </a:p>
        </p:txBody>
      </p:sp>
    </p:spTree>
    <p:extLst>
      <p:ext uri="{BB962C8B-B14F-4D97-AF65-F5344CB8AC3E}">
        <p14:creationId xmlns:p14="http://schemas.microsoft.com/office/powerpoint/2010/main" val="16083834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_синяя те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DFC6C19-753C-C62C-9B9A-8664545856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43DE59E-FD33-6A4B-9A75-608A77E0A9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5125" y="2356225"/>
            <a:ext cx="5402719" cy="18139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lang="en-US" sz="4800" b="1" kern="1200" dirty="0">
                <a:solidFill>
                  <a:schemeClr val="bg1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pPr lvl="0"/>
            <a:r>
              <a:rPr lang="ru-RU" dirty="0"/>
              <a:t>Спасибо </a:t>
            </a:r>
            <a:br>
              <a:rPr lang="ru-RU" dirty="0"/>
            </a:br>
            <a:r>
              <a:rPr lang="ru-RU" dirty="0"/>
              <a:t>за внимание</a:t>
            </a:r>
            <a:endParaRPr lang="en-US" dirty="0"/>
          </a:p>
        </p:txBody>
      </p:sp>
      <p:sp>
        <p:nvSpPr>
          <p:cNvPr id="4" name="Текст 4">
            <a:extLst>
              <a:ext uri="{FF2B5EF4-FFF2-40B4-BE49-F238E27FC236}">
                <a16:creationId xmlns:a16="http://schemas.microsoft.com/office/drawing/2014/main" id="{18A9AAE9-5386-304D-95C8-EB339A387ED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4580" y="6174183"/>
            <a:ext cx="5402347" cy="288567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/>
              <a:t>00.00.202</a:t>
            </a:r>
            <a:r>
              <a:rPr lang="en-US" dirty="0"/>
              <a:t>3</a:t>
            </a:r>
            <a:endParaRPr lang="ru-RU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5E406105-BD05-3646-87CE-583928B214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4208" y="5704782"/>
            <a:ext cx="5402719" cy="28856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/>
              <a:t>Контактная информация</a:t>
            </a:r>
          </a:p>
        </p:txBody>
      </p:sp>
      <p:sp>
        <p:nvSpPr>
          <p:cNvPr id="6" name="Текст 4">
            <a:extLst>
              <a:ext uri="{FF2B5EF4-FFF2-40B4-BE49-F238E27FC236}">
                <a16:creationId xmlns:a16="http://schemas.microsoft.com/office/drawing/2014/main" id="{FD927E3B-B22D-8240-914A-53B44FDA64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4208" y="5256966"/>
            <a:ext cx="5402719" cy="24761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/>
              <a:t>ФИО</a:t>
            </a:r>
          </a:p>
        </p:txBody>
      </p:sp>
    </p:spTree>
    <p:extLst>
      <p:ext uri="{BB962C8B-B14F-4D97-AF65-F5344CB8AC3E}">
        <p14:creationId xmlns:p14="http://schemas.microsoft.com/office/powerpoint/2010/main" val="37835062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без логотипа_синяя те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7">
            <a:extLst>
              <a:ext uri="{FF2B5EF4-FFF2-40B4-BE49-F238E27FC236}">
                <a16:creationId xmlns:a16="http://schemas.microsoft.com/office/drawing/2014/main" id="{01B5B7FA-12C3-5D08-D3B6-CC20368AB27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CE9D2A1-3C41-1C41-BF02-2873D75F05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0563" y="5070502"/>
            <a:ext cx="8205775" cy="2734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kern="1200" dirty="0">
                <a:solidFill>
                  <a:schemeClr val="bg1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r>
              <a:rPr lang="ru-RU" dirty="0"/>
              <a:t>Наименование мероприятия / название площадки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B67603F7-0E4E-22B8-437C-6EBCAB8CB2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4" y="1376363"/>
            <a:ext cx="8216901" cy="3673475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100000"/>
              </a:lnSpc>
              <a:defRPr lang="en-US" sz="4200" b="1" kern="1200" baseline="0" dirty="0">
                <a:solidFill>
                  <a:schemeClr val="bg1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r>
              <a:rPr lang="ru-RU" dirty="0"/>
              <a:t>Тема презентации</a:t>
            </a:r>
            <a:endParaRPr lang="en-US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06210D6-D392-C7B6-5EFA-5281A43F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375" y="5526907"/>
            <a:ext cx="6337300" cy="2734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600" b="1" kern="1200" dirty="0">
                <a:solidFill>
                  <a:schemeClr val="bg1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r>
              <a:rPr lang="ru-RU" dirty="0"/>
              <a:t>ФИО</a:t>
            </a:r>
            <a:endParaRPr lang="en-US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D5E1B6F0-A8BF-0291-1218-2887FC8228B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7376" y="5693589"/>
            <a:ext cx="6337300" cy="27349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kern="1200" dirty="0">
                <a:solidFill>
                  <a:schemeClr val="bg1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r>
              <a:rPr lang="ru-RU" dirty="0"/>
              <a:t>Должность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047E7633-EBA6-7F43-FA10-612F29A94D2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6" y="6149263"/>
            <a:ext cx="5400674" cy="2516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1" kern="1200" dirty="0">
                <a:solidFill>
                  <a:schemeClr val="bg1"/>
                </a:solidFill>
                <a:latin typeface="Arial" pitchFamily="34" charset="0"/>
                <a:ea typeface="Rosatom Light" pitchFamily="34" charset="-52"/>
                <a:cs typeface="Arial" pitchFamily="34" charset="0"/>
              </a:defRPr>
            </a:lvl1pPr>
          </a:lstStyle>
          <a:p>
            <a:r>
              <a:rPr lang="ru-RU" dirty="0"/>
              <a:t>00.00.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39743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51.xml"/><Relationship Id="rId7" Type="http://schemas.openxmlformats.org/officeDocument/2006/relationships/theme" Target="../theme/theme10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5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2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3" Type="http://schemas.openxmlformats.org/officeDocument/2006/relationships/slideLayout" Target="../slideLayouts/slideLayout57.xml"/><Relationship Id="rId21" Type="http://schemas.openxmlformats.org/officeDocument/2006/relationships/slideLayout" Target="../slideLayouts/slideLayout75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slideLayout" Target="../slideLayouts/slideLayout74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23" Type="http://schemas.openxmlformats.org/officeDocument/2006/relationships/theme" Target="../theme/theme11.xml"/><Relationship Id="rId10" Type="http://schemas.openxmlformats.org/officeDocument/2006/relationships/slideLayout" Target="../slideLayouts/slideLayout64.xml"/><Relationship Id="rId19" Type="http://schemas.openxmlformats.org/officeDocument/2006/relationships/slideLayout" Target="../slideLayouts/slideLayout73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slideLayout" Target="../slideLayouts/slideLayout76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9.xml"/><Relationship Id="rId2" Type="http://schemas.openxmlformats.org/officeDocument/2006/relationships/slideLayout" Target="../slideLayouts/slideLayout78.xml"/><Relationship Id="rId1" Type="http://schemas.openxmlformats.org/officeDocument/2006/relationships/slideLayout" Target="../slideLayouts/slideLayout77.xml"/><Relationship Id="rId6" Type="http://schemas.openxmlformats.org/officeDocument/2006/relationships/image" Target="../media/image2.png"/><Relationship Id="rId5" Type="http://schemas.openxmlformats.org/officeDocument/2006/relationships/theme" Target="../theme/theme12.xml"/><Relationship Id="rId4" Type="http://schemas.openxmlformats.org/officeDocument/2006/relationships/slideLayout" Target="../slideLayouts/slideLayout80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3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image" Target="../media/image2.png"/><Relationship Id="rId5" Type="http://schemas.openxmlformats.org/officeDocument/2006/relationships/theme" Target="../theme/theme13.xml"/><Relationship Id="rId4" Type="http://schemas.openxmlformats.org/officeDocument/2006/relationships/slideLayout" Target="../slideLayouts/slideLayout84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7.xml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5" Type="http://schemas.openxmlformats.org/officeDocument/2006/relationships/image" Target="../media/image2.png"/><Relationship Id="rId4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theme" Target="../theme/theme15.xml"/><Relationship Id="rId2" Type="http://schemas.openxmlformats.org/officeDocument/2006/relationships/slideLayout" Target="../slideLayouts/slideLayout89.xml"/><Relationship Id="rId1" Type="http://schemas.openxmlformats.org/officeDocument/2006/relationships/slideLayout" Target="../slideLayouts/slideLayout88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5" Type="http://schemas.openxmlformats.org/officeDocument/2006/relationships/slideLayout" Target="../slideLayouts/slideLayout24.xml"/><Relationship Id="rId4" Type="http://schemas.openxmlformats.org/officeDocument/2006/relationships/slideLayout" Target="../slideLayouts/slideLayout2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image" Target="../media/image2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theme" Target="../theme/theme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41199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73" r:id="rId2"/>
    <p:sldLayoutId id="2147483879" r:id="rId3"/>
    <p:sldLayoutId id="2147483880" r:id="rId4"/>
    <p:sldLayoutId id="2147483881" r:id="rId5"/>
  </p:sldLayoutIdLst>
  <p:txStyles>
    <p:titleStyle>
      <a:lvl1pPr algn="l" defTabSz="1042690" rtl="0" eaLnBrk="1" latinLnBrk="0" hangingPunct="1">
        <a:lnSpc>
          <a:spcPct val="90000"/>
        </a:lnSpc>
        <a:spcBef>
          <a:spcPct val="0"/>
        </a:spcBef>
        <a:buNone/>
        <a:defRPr sz="501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0673" indent="-260673" algn="l" defTabSz="1042690" rtl="0" eaLnBrk="1" latinLnBrk="0" hangingPunct="1">
        <a:lnSpc>
          <a:spcPct val="90000"/>
        </a:lnSpc>
        <a:spcBef>
          <a:spcPts val="1140"/>
        </a:spcBef>
        <a:buFont typeface="Arial" panose="020B0604020202020204" pitchFamily="34" charset="0"/>
        <a:buChar char="•"/>
        <a:defRPr sz="3193" kern="1200">
          <a:solidFill>
            <a:schemeClr val="tx1"/>
          </a:solidFill>
          <a:latin typeface="+mn-lt"/>
          <a:ea typeface="+mn-ea"/>
          <a:cs typeface="+mn-cs"/>
        </a:defRPr>
      </a:lvl1pPr>
      <a:lvl2pPr marL="78201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737" kern="1200">
          <a:solidFill>
            <a:schemeClr val="tx1"/>
          </a:solidFill>
          <a:latin typeface="+mn-lt"/>
          <a:ea typeface="+mn-ea"/>
          <a:cs typeface="+mn-cs"/>
        </a:defRPr>
      </a:lvl2pPr>
      <a:lvl3pPr marL="1303363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281" kern="1200">
          <a:solidFill>
            <a:schemeClr val="tx1"/>
          </a:solidFill>
          <a:latin typeface="+mn-lt"/>
          <a:ea typeface="+mn-ea"/>
          <a:cs typeface="+mn-cs"/>
        </a:defRPr>
      </a:lvl3pPr>
      <a:lvl4pPr marL="182470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4pPr>
      <a:lvl5pPr marL="2346053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5pPr>
      <a:lvl6pPr marL="286739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6pPr>
      <a:lvl7pPr marL="3388744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7pPr>
      <a:lvl8pPr marL="3910089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8pPr>
      <a:lvl9pPr marL="4431434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1pPr>
      <a:lvl2pPr marL="521345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2pPr>
      <a:lvl3pPr marL="1042690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3pPr>
      <a:lvl4pPr marL="1564035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4pPr>
      <a:lvl5pPr marL="208538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5pPr>
      <a:lvl6pPr marL="2606726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6pPr>
      <a:lvl7pPr marL="312807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7pPr>
      <a:lvl8pPr marL="3649416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8pPr>
      <a:lvl9pPr marL="417076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70" userDrawn="1">
          <p15:clr>
            <a:srgbClr val="F26B43"/>
          </p15:clr>
        </p15:guide>
        <p15:guide id="2" orient="horz" pos="867" userDrawn="1">
          <p15:clr>
            <a:srgbClr val="F26B43"/>
          </p15:clr>
        </p15:guide>
        <p15:guide id="3" orient="horz" pos="323" userDrawn="1">
          <p15:clr>
            <a:srgbClr val="F26B43"/>
          </p15:clr>
        </p15:guide>
        <p15:guide id="4" pos="5541" userDrawn="1">
          <p15:clr>
            <a:srgbClr val="F26B43"/>
          </p15:clr>
        </p15:guide>
        <p15:guide id="5" orient="horz" pos="3997" userDrawn="1">
          <p15:clr>
            <a:srgbClr val="F26B43"/>
          </p15:clr>
        </p15:guide>
        <p15:guide id="6" orient="horz" pos="3861" userDrawn="1">
          <p15:clr>
            <a:srgbClr val="F26B43"/>
          </p15:clr>
        </p15:guide>
        <p15:guide id="7" orient="horz" pos="3725" userDrawn="1">
          <p15:clr>
            <a:srgbClr val="F26B43"/>
          </p15:clr>
        </p15:guide>
        <p15:guide id="8" orient="horz" pos="3589" userDrawn="1">
          <p15:clr>
            <a:srgbClr val="F26B43"/>
          </p15:clr>
        </p15:guide>
        <p15:guide id="9" orient="horz" pos="3453" userDrawn="1">
          <p15:clr>
            <a:srgbClr val="F26B43"/>
          </p15:clr>
        </p15:guide>
        <p15:guide id="10" orient="horz" pos="3317" userDrawn="1">
          <p15:clr>
            <a:srgbClr val="F26B43"/>
          </p15:clr>
        </p15:guide>
        <p15:guide id="11" orient="horz" pos="3181" userDrawn="1">
          <p15:clr>
            <a:srgbClr val="F26B43"/>
          </p15:clr>
        </p15:guide>
        <p15:guide id="12" orient="horz" pos="3045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1">
            <a:extLst>
              <a:ext uri="{FF2B5EF4-FFF2-40B4-BE49-F238E27FC236}">
                <a16:creationId xmlns:a16="http://schemas.microsoft.com/office/drawing/2014/main" id="{6F46B38B-F396-1046-A6EF-5FCCA0D99DFC}"/>
              </a:ext>
            </a:extLst>
          </p:cNvPr>
          <p:cNvSpPr txBox="1">
            <a:spLocks/>
          </p:cNvSpPr>
          <p:nvPr userDrawn="1"/>
        </p:nvSpPr>
        <p:spPr>
          <a:xfrm>
            <a:off x="11158634" y="6382413"/>
            <a:ext cx="460059" cy="21495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D9737D-88D3-4F40-A281-A12720D62BD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cs typeface="Arial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pic>
        <p:nvPicPr>
          <p:cNvPr id="9" name="Picture 18">
            <a:extLst>
              <a:ext uri="{FF2B5EF4-FFF2-40B4-BE49-F238E27FC236}">
                <a16:creationId xmlns:a16="http://schemas.microsoft.com/office/drawing/2014/main" id="{21CED000-B5A8-2EBE-8D60-70BA9CFF3FE1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9472339" y="301220"/>
            <a:ext cx="2156949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5083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28" r:id="rId2"/>
    <p:sldLayoutId id="2147483731" r:id="rId3"/>
    <p:sldLayoutId id="2147483735" r:id="rId4"/>
    <p:sldLayoutId id="2147483734" r:id="rId5"/>
    <p:sldLayoutId id="2147483771" r:id="rId6"/>
  </p:sldLayoutIdLst>
  <p:txStyles>
    <p:titleStyle>
      <a:lvl1pPr algn="l" defTabSz="1042690" rtl="0" eaLnBrk="1" latinLnBrk="0" hangingPunct="1">
        <a:lnSpc>
          <a:spcPct val="90000"/>
        </a:lnSpc>
        <a:spcBef>
          <a:spcPct val="0"/>
        </a:spcBef>
        <a:buNone/>
        <a:defRPr sz="501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0673" indent="-260673" algn="l" defTabSz="1042690" rtl="0" eaLnBrk="1" latinLnBrk="0" hangingPunct="1">
        <a:lnSpc>
          <a:spcPct val="90000"/>
        </a:lnSpc>
        <a:spcBef>
          <a:spcPts val="1140"/>
        </a:spcBef>
        <a:buFont typeface="Arial" panose="020B0604020202020204" pitchFamily="34" charset="0"/>
        <a:buChar char="•"/>
        <a:defRPr sz="3193" kern="1200">
          <a:solidFill>
            <a:schemeClr val="tx1"/>
          </a:solidFill>
          <a:latin typeface="+mn-lt"/>
          <a:ea typeface="+mn-ea"/>
          <a:cs typeface="+mn-cs"/>
        </a:defRPr>
      </a:lvl1pPr>
      <a:lvl2pPr marL="78201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737" kern="1200">
          <a:solidFill>
            <a:schemeClr val="tx1"/>
          </a:solidFill>
          <a:latin typeface="+mn-lt"/>
          <a:ea typeface="+mn-ea"/>
          <a:cs typeface="+mn-cs"/>
        </a:defRPr>
      </a:lvl2pPr>
      <a:lvl3pPr marL="1303363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281" kern="1200">
          <a:solidFill>
            <a:schemeClr val="tx1"/>
          </a:solidFill>
          <a:latin typeface="+mn-lt"/>
          <a:ea typeface="+mn-ea"/>
          <a:cs typeface="+mn-cs"/>
        </a:defRPr>
      </a:lvl3pPr>
      <a:lvl4pPr marL="182470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4pPr>
      <a:lvl5pPr marL="2346053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5pPr>
      <a:lvl6pPr marL="286739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6pPr>
      <a:lvl7pPr marL="3388744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7pPr>
      <a:lvl8pPr marL="3910089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8pPr>
      <a:lvl9pPr marL="4431434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1pPr>
      <a:lvl2pPr marL="521345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2pPr>
      <a:lvl3pPr marL="1042690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3pPr>
      <a:lvl4pPr marL="1564035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4pPr>
      <a:lvl5pPr marL="208538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5pPr>
      <a:lvl6pPr marL="2606726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6pPr>
      <a:lvl7pPr marL="312807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7pPr>
      <a:lvl8pPr marL="3649416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8pPr>
      <a:lvl9pPr marL="417076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70" userDrawn="1">
          <p15:clr>
            <a:srgbClr val="F26B43"/>
          </p15:clr>
        </p15:guide>
        <p15:guide id="2" pos="824" userDrawn="1">
          <p15:clr>
            <a:srgbClr val="F26B43"/>
          </p15:clr>
        </p15:guide>
        <p15:guide id="3" pos="960" userDrawn="1">
          <p15:clr>
            <a:srgbClr val="F26B43"/>
          </p15:clr>
        </p15:guide>
        <p15:guide id="4" pos="1413" userDrawn="1">
          <p15:clr>
            <a:srgbClr val="F26B43"/>
          </p15:clr>
        </p15:guide>
        <p15:guide id="5" pos="1549" userDrawn="1">
          <p15:clr>
            <a:srgbClr val="F26B43"/>
          </p15:clr>
        </p15:guide>
        <p15:guide id="6" pos="2003" userDrawn="1">
          <p15:clr>
            <a:srgbClr val="F26B43"/>
          </p15:clr>
        </p15:guide>
        <p15:guide id="7" pos="2139" userDrawn="1">
          <p15:clr>
            <a:srgbClr val="F26B43"/>
          </p15:clr>
        </p15:guide>
        <p15:guide id="8" pos="2593" userDrawn="1">
          <p15:clr>
            <a:srgbClr val="F26B43"/>
          </p15:clr>
        </p15:guide>
        <p15:guide id="9" pos="2729" userDrawn="1">
          <p15:clr>
            <a:srgbClr val="F26B43"/>
          </p15:clr>
        </p15:guide>
        <p15:guide id="10" pos="3182" userDrawn="1">
          <p15:clr>
            <a:srgbClr val="F26B43"/>
          </p15:clr>
        </p15:guide>
        <p15:guide id="11" pos="3318" userDrawn="1">
          <p15:clr>
            <a:srgbClr val="F26B43"/>
          </p15:clr>
        </p15:guide>
        <p15:guide id="12" pos="3772" userDrawn="1">
          <p15:clr>
            <a:srgbClr val="F26B43"/>
          </p15:clr>
        </p15:guide>
        <p15:guide id="13" pos="3908" userDrawn="1">
          <p15:clr>
            <a:srgbClr val="F26B43"/>
          </p15:clr>
        </p15:guide>
        <p15:guide id="14" pos="4362" userDrawn="1">
          <p15:clr>
            <a:srgbClr val="F26B43"/>
          </p15:clr>
        </p15:guide>
        <p15:guide id="15" pos="4498" userDrawn="1">
          <p15:clr>
            <a:srgbClr val="F26B43"/>
          </p15:clr>
        </p15:guide>
        <p15:guide id="16" pos="4952" userDrawn="1">
          <p15:clr>
            <a:srgbClr val="F26B43"/>
          </p15:clr>
        </p15:guide>
        <p15:guide id="17" pos="5087" userDrawn="1">
          <p15:clr>
            <a:srgbClr val="F26B43"/>
          </p15:clr>
        </p15:guide>
        <p15:guide id="18" pos="5541" userDrawn="1">
          <p15:clr>
            <a:srgbClr val="F26B43"/>
          </p15:clr>
        </p15:guide>
        <p15:guide id="19" pos="5676" userDrawn="1">
          <p15:clr>
            <a:srgbClr val="F26B43"/>
          </p15:clr>
        </p15:guide>
        <p15:guide id="20" pos="6131" userDrawn="1">
          <p15:clr>
            <a:srgbClr val="F26B43"/>
          </p15:clr>
        </p15:guide>
        <p15:guide id="21" pos="6267" userDrawn="1">
          <p15:clr>
            <a:srgbClr val="F26B43"/>
          </p15:clr>
        </p15:guide>
        <p15:guide id="22" pos="6720" userDrawn="1">
          <p15:clr>
            <a:srgbClr val="F26B43"/>
          </p15:clr>
        </p15:guide>
        <p15:guide id="23" pos="6856" userDrawn="1">
          <p15:clr>
            <a:srgbClr val="F26B43"/>
          </p15:clr>
        </p15:guide>
        <p15:guide id="24" pos="7310" userDrawn="1">
          <p15:clr>
            <a:srgbClr val="F26B43"/>
          </p15:clr>
        </p15:guide>
        <p15:guide id="25" orient="horz" pos="187" userDrawn="1">
          <p15:clr>
            <a:srgbClr val="F26B43"/>
          </p15:clr>
        </p15:guide>
        <p15:guide id="30" orient="horz" pos="867" userDrawn="1">
          <p15:clr>
            <a:srgbClr val="F26B43"/>
          </p15:clr>
        </p15:guide>
        <p15:guide id="33" orient="horz" pos="1003" userDrawn="1">
          <p15:clr>
            <a:srgbClr val="F26B43"/>
          </p15:clr>
        </p15:guide>
        <p15:guide id="34" orient="horz" pos="1275" userDrawn="1">
          <p15:clr>
            <a:srgbClr val="F26B43"/>
          </p15:clr>
        </p15:guide>
        <p15:guide id="36" orient="horz" pos="595" userDrawn="1">
          <p15:clr>
            <a:srgbClr val="F26B43"/>
          </p15:clr>
        </p15:guide>
        <p15:guide id="37" orient="horz" pos="731" userDrawn="1">
          <p15:clr>
            <a:srgbClr val="F26B43"/>
          </p15:clr>
        </p15:guide>
        <p15:guide id="38" orient="horz" pos="1684" userDrawn="1">
          <p15:clr>
            <a:srgbClr val="F26B43"/>
          </p15:clr>
        </p15:guide>
        <p15:guide id="39" orient="horz" pos="1412" userDrawn="1">
          <p15:clr>
            <a:srgbClr val="F26B43"/>
          </p15:clr>
        </p15:guide>
        <p15:guide id="40" orient="horz" pos="1548" userDrawn="1">
          <p15:clr>
            <a:srgbClr val="F26B43"/>
          </p15:clr>
        </p15:guide>
        <p15:guide id="41" orient="horz" pos="1139" userDrawn="1">
          <p15:clr>
            <a:srgbClr val="F26B43"/>
          </p15:clr>
        </p15:guide>
        <p15:guide id="42" orient="horz" pos="2092" userDrawn="1">
          <p15:clr>
            <a:srgbClr val="F26B43"/>
          </p15:clr>
        </p15:guide>
        <p15:guide id="43" orient="horz" pos="1820" userDrawn="1">
          <p15:clr>
            <a:srgbClr val="F26B43"/>
          </p15:clr>
        </p15:guide>
        <p15:guide id="44" orient="horz" pos="2364" userDrawn="1">
          <p15:clr>
            <a:srgbClr val="F26B43"/>
          </p15:clr>
        </p15:guide>
        <p15:guide id="45" orient="horz" pos="1956" userDrawn="1">
          <p15:clr>
            <a:srgbClr val="F26B43"/>
          </p15:clr>
        </p15:guide>
        <p15:guide id="46" orient="horz" pos="2500" userDrawn="1">
          <p15:clr>
            <a:srgbClr val="F26B43"/>
          </p15:clr>
        </p15:guide>
        <p15:guide id="47" orient="horz" pos="2228" userDrawn="1">
          <p15:clr>
            <a:srgbClr val="F26B43"/>
          </p15:clr>
        </p15:guide>
        <p15:guide id="48" orient="horz" pos="2636" userDrawn="1">
          <p15:clr>
            <a:srgbClr val="F26B43"/>
          </p15:clr>
        </p15:guide>
        <p15:guide id="49" orient="horz" pos="2772" userDrawn="1">
          <p15:clr>
            <a:srgbClr val="F26B43"/>
          </p15:clr>
        </p15:guide>
        <p15:guide id="50" orient="horz" pos="2908" userDrawn="1">
          <p15:clr>
            <a:srgbClr val="F26B43"/>
          </p15:clr>
        </p15:guide>
        <p15:guide id="51" orient="horz" pos="3045" userDrawn="1">
          <p15:clr>
            <a:srgbClr val="F26B43"/>
          </p15:clr>
        </p15:guide>
        <p15:guide id="52" orient="horz" pos="3181" userDrawn="1">
          <p15:clr>
            <a:srgbClr val="F26B43"/>
          </p15:clr>
        </p15:guide>
        <p15:guide id="53" orient="horz" pos="3317" userDrawn="1">
          <p15:clr>
            <a:srgbClr val="F26B43"/>
          </p15:clr>
        </p15:guide>
        <p15:guide id="55" orient="horz" pos="3453" userDrawn="1">
          <p15:clr>
            <a:srgbClr val="F26B43"/>
          </p15:clr>
        </p15:guide>
        <p15:guide id="57" orient="horz" pos="3589" userDrawn="1">
          <p15:clr>
            <a:srgbClr val="F26B43"/>
          </p15:clr>
        </p15:guide>
        <p15:guide id="58" orient="horz" pos="3725" userDrawn="1">
          <p15:clr>
            <a:srgbClr val="F26B43"/>
          </p15:clr>
        </p15:guide>
        <p15:guide id="59" orient="horz" pos="3861" userDrawn="1">
          <p15:clr>
            <a:srgbClr val="F26B43"/>
          </p15:clr>
        </p15:guide>
        <p15:guide id="60" orient="horz" pos="3997" userDrawn="1">
          <p15:clr>
            <a:srgbClr val="F26B43"/>
          </p15:clr>
        </p15:guide>
        <p15:guide id="61" orient="horz" pos="4133" userDrawn="1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1">
            <a:extLst>
              <a:ext uri="{FF2B5EF4-FFF2-40B4-BE49-F238E27FC236}">
                <a16:creationId xmlns:a16="http://schemas.microsoft.com/office/drawing/2014/main" id="{6F46B38B-F396-1046-A6EF-5FCCA0D99DFC}"/>
              </a:ext>
            </a:extLst>
          </p:cNvPr>
          <p:cNvSpPr txBox="1">
            <a:spLocks/>
          </p:cNvSpPr>
          <p:nvPr userDrawn="1"/>
        </p:nvSpPr>
        <p:spPr>
          <a:xfrm>
            <a:off x="11158634" y="6382413"/>
            <a:ext cx="460059" cy="21495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D9737D-88D3-4F40-A281-A12720D62BD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cs typeface="Arial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pic>
        <p:nvPicPr>
          <p:cNvPr id="9" name="Picture 18">
            <a:extLst>
              <a:ext uri="{FF2B5EF4-FFF2-40B4-BE49-F238E27FC236}">
                <a16:creationId xmlns:a16="http://schemas.microsoft.com/office/drawing/2014/main" id="{5A75EDCF-24FE-66C0-DBBD-68AE6065C6FE}"/>
              </a:ext>
            </a:extLst>
          </p:cNvPr>
          <p:cNvPicPr>
            <a:picLocks noChangeAspect="1"/>
          </p:cNvPicPr>
          <p:nvPr userDrawn="1"/>
        </p:nvPicPr>
        <p:blipFill>
          <a:blip r:embed="rId24"/>
          <a:srcRect/>
          <a:stretch/>
        </p:blipFill>
        <p:spPr>
          <a:xfrm>
            <a:off x="9472339" y="301220"/>
            <a:ext cx="2156949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3012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7" r:id="rId2"/>
    <p:sldLayoutId id="2147483760" r:id="rId3"/>
    <p:sldLayoutId id="2147483725" r:id="rId4"/>
    <p:sldLayoutId id="2147483726" r:id="rId5"/>
    <p:sldLayoutId id="2147483759" r:id="rId6"/>
    <p:sldLayoutId id="2147483752" r:id="rId7"/>
    <p:sldLayoutId id="2147483755" r:id="rId8"/>
    <p:sldLayoutId id="2147483716" r:id="rId9"/>
    <p:sldLayoutId id="2147483715" r:id="rId10"/>
    <p:sldLayoutId id="2147483859" r:id="rId11"/>
    <p:sldLayoutId id="2147483717" r:id="rId12"/>
    <p:sldLayoutId id="2147483718" r:id="rId13"/>
    <p:sldLayoutId id="2147483719" r:id="rId14"/>
    <p:sldLayoutId id="2147483754" r:id="rId15"/>
    <p:sldLayoutId id="2147483772" r:id="rId16"/>
    <p:sldLayoutId id="2147483756" r:id="rId17"/>
    <p:sldLayoutId id="2147483768" r:id="rId18"/>
    <p:sldLayoutId id="2147483757" r:id="rId19"/>
    <p:sldLayoutId id="2147483758" r:id="rId20"/>
    <p:sldLayoutId id="2147483769" r:id="rId21"/>
    <p:sldLayoutId id="2147483749" r:id="rId22"/>
  </p:sldLayoutIdLst>
  <p:txStyles>
    <p:titleStyle>
      <a:lvl1pPr algn="l" defTabSz="1042690" rtl="0" eaLnBrk="1" latinLnBrk="0" hangingPunct="1">
        <a:lnSpc>
          <a:spcPct val="90000"/>
        </a:lnSpc>
        <a:spcBef>
          <a:spcPct val="0"/>
        </a:spcBef>
        <a:buNone/>
        <a:defRPr sz="501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0673" indent="-260673" algn="l" defTabSz="1042690" rtl="0" eaLnBrk="1" latinLnBrk="0" hangingPunct="1">
        <a:lnSpc>
          <a:spcPct val="90000"/>
        </a:lnSpc>
        <a:spcBef>
          <a:spcPts val="1140"/>
        </a:spcBef>
        <a:buFont typeface="Arial" panose="020B0604020202020204" pitchFamily="34" charset="0"/>
        <a:buChar char="•"/>
        <a:defRPr sz="3193" kern="1200">
          <a:solidFill>
            <a:schemeClr val="tx1"/>
          </a:solidFill>
          <a:latin typeface="+mn-lt"/>
          <a:ea typeface="+mn-ea"/>
          <a:cs typeface="+mn-cs"/>
        </a:defRPr>
      </a:lvl1pPr>
      <a:lvl2pPr marL="78201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737" kern="1200">
          <a:solidFill>
            <a:schemeClr val="tx1"/>
          </a:solidFill>
          <a:latin typeface="+mn-lt"/>
          <a:ea typeface="+mn-ea"/>
          <a:cs typeface="+mn-cs"/>
        </a:defRPr>
      </a:lvl2pPr>
      <a:lvl3pPr marL="1303363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281" kern="1200">
          <a:solidFill>
            <a:schemeClr val="tx1"/>
          </a:solidFill>
          <a:latin typeface="+mn-lt"/>
          <a:ea typeface="+mn-ea"/>
          <a:cs typeface="+mn-cs"/>
        </a:defRPr>
      </a:lvl3pPr>
      <a:lvl4pPr marL="182470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4pPr>
      <a:lvl5pPr marL="2346053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5pPr>
      <a:lvl6pPr marL="286739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6pPr>
      <a:lvl7pPr marL="3388744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7pPr>
      <a:lvl8pPr marL="3910089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8pPr>
      <a:lvl9pPr marL="4431434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1pPr>
      <a:lvl2pPr marL="521345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2pPr>
      <a:lvl3pPr marL="1042690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3pPr>
      <a:lvl4pPr marL="1564035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4pPr>
      <a:lvl5pPr marL="208538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5pPr>
      <a:lvl6pPr marL="2606726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6pPr>
      <a:lvl7pPr marL="312807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7pPr>
      <a:lvl8pPr marL="3649416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8pPr>
      <a:lvl9pPr marL="417076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70" userDrawn="1">
          <p15:clr>
            <a:srgbClr val="F26B43"/>
          </p15:clr>
        </p15:guide>
        <p15:guide id="2" pos="824" userDrawn="1">
          <p15:clr>
            <a:srgbClr val="F26B43"/>
          </p15:clr>
        </p15:guide>
        <p15:guide id="3" pos="960" userDrawn="1">
          <p15:clr>
            <a:srgbClr val="F26B43"/>
          </p15:clr>
        </p15:guide>
        <p15:guide id="4" pos="1413" userDrawn="1">
          <p15:clr>
            <a:srgbClr val="F26B43"/>
          </p15:clr>
        </p15:guide>
        <p15:guide id="5" pos="1549" userDrawn="1">
          <p15:clr>
            <a:srgbClr val="F26B43"/>
          </p15:clr>
        </p15:guide>
        <p15:guide id="6" pos="2003" userDrawn="1">
          <p15:clr>
            <a:srgbClr val="F26B43"/>
          </p15:clr>
        </p15:guide>
        <p15:guide id="7" pos="2139" userDrawn="1">
          <p15:clr>
            <a:srgbClr val="F26B43"/>
          </p15:clr>
        </p15:guide>
        <p15:guide id="8" pos="2593" userDrawn="1">
          <p15:clr>
            <a:srgbClr val="F26B43"/>
          </p15:clr>
        </p15:guide>
        <p15:guide id="9" pos="2729" userDrawn="1">
          <p15:clr>
            <a:srgbClr val="F26B43"/>
          </p15:clr>
        </p15:guide>
        <p15:guide id="10" pos="3182" userDrawn="1">
          <p15:clr>
            <a:srgbClr val="F26B43"/>
          </p15:clr>
        </p15:guide>
        <p15:guide id="11" pos="3318" userDrawn="1">
          <p15:clr>
            <a:srgbClr val="F26B43"/>
          </p15:clr>
        </p15:guide>
        <p15:guide id="12" pos="3772" userDrawn="1">
          <p15:clr>
            <a:srgbClr val="F26B43"/>
          </p15:clr>
        </p15:guide>
        <p15:guide id="13" pos="3908" userDrawn="1">
          <p15:clr>
            <a:srgbClr val="F26B43"/>
          </p15:clr>
        </p15:guide>
        <p15:guide id="14" pos="4362" userDrawn="1">
          <p15:clr>
            <a:srgbClr val="F26B43"/>
          </p15:clr>
        </p15:guide>
        <p15:guide id="15" pos="4498" userDrawn="1">
          <p15:clr>
            <a:srgbClr val="F26B43"/>
          </p15:clr>
        </p15:guide>
        <p15:guide id="16" pos="4952" userDrawn="1">
          <p15:clr>
            <a:srgbClr val="F26B43"/>
          </p15:clr>
        </p15:guide>
        <p15:guide id="17" pos="5087" userDrawn="1">
          <p15:clr>
            <a:srgbClr val="F26B43"/>
          </p15:clr>
        </p15:guide>
        <p15:guide id="18" pos="5541" userDrawn="1">
          <p15:clr>
            <a:srgbClr val="F26B43"/>
          </p15:clr>
        </p15:guide>
        <p15:guide id="19" pos="5676" userDrawn="1">
          <p15:clr>
            <a:srgbClr val="F26B43"/>
          </p15:clr>
        </p15:guide>
        <p15:guide id="20" pos="6131" userDrawn="1">
          <p15:clr>
            <a:srgbClr val="F26B43"/>
          </p15:clr>
        </p15:guide>
        <p15:guide id="21" pos="6267" userDrawn="1">
          <p15:clr>
            <a:srgbClr val="F26B43"/>
          </p15:clr>
        </p15:guide>
        <p15:guide id="22" pos="6720" userDrawn="1">
          <p15:clr>
            <a:srgbClr val="F26B43"/>
          </p15:clr>
        </p15:guide>
        <p15:guide id="23" pos="6856" userDrawn="1">
          <p15:clr>
            <a:srgbClr val="F26B43"/>
          </p15:clr>
        </p15:guide>
        <p15:guide id="24" pos="7310" userDrawn="1">
          <p15:clr>
            <a:srgbClr val="F26B43"/>
          </p15:clr>
        </p15:guide>
        <p15:guide id="25" orient="horz" pos="187" userDrawn="1">
          <p15:clr>
            <a:srgbClr val="F26B43"/>
          </p15:clr>
        </p15:guide>
        <p15:guide id="30" orient="horz" pos="864" userDrawn="1">
          <p15:clr>
            <a:srgbClr val="F26B43"/>
          </p15:clr>
        </p15:guide>
        <p15:guide id="33" orient="horz" pos="1003" userDrawn="1">
          <p15:clr>
            <a:srgbClr val="F26B43"/>
          </p15:clr>
        </p15:guide>
        <p15:guide id="34" orient="horz" pos="1275" userDrawn="1">
          <p15:clr>
            <a:srgbClr val="F26B43"/>
          </p15:clr>
        </p15:guide>
        <p15:guide id="36" orient="horz" pos="595" userDrawn="1">
          <p15:clr>
            <a:srgbClr val="F26B43"/>
          </p15:clr>
        </p15:guide>
        <p15:guide id="37" orient="horz" pos="731" userDrawn="1">
          <p15:clr>
            <a:srgbClr val="F26B43"/>
          </p15:clr>
        </p15:guide>
        <p15:guide id="38" orient="horz" pos="1684" userDrawn="1">
          <p15:clr>
            <a:srgbClr val="F26B43"/>
          </p15:clr>
        </p15:guide>
        <p15:guide id="39" orient="horz" pos="1412" userDrawn="1">
          <p15:clr>
            <a:srgbClr val="F26B43"/>
          </p15:clr>
        </p15:guide>
        <p15:guide id="40" orient="horz" pos="1548" userDrawn="1">
          <p15:clr>
            <a:srgbClr val="F26B43"/>
          </p15:clr>
        </p15:guide>
        <p15:guide id="41" orient="horz" pos="1139" userDrawn="1">
          <p15:clr>
            <a:srgbClr val="F26B43"/>
          </p15:clr>
        </p15:guide>
        <p15:guide id="42" orient="horz" pos="2092" userDrawn="1">
          <p15:clr>
            <a:srgbClr val="F26B43"/>
          </p15:clr>
        </p15:guide>
        <p15:guide id="43" orient="horz" pos="1820" userDrawn="1">
          <p15:clr>
            <a:srgbClr val="F26B43"/>
          </p15:clr>
        </p15:guide>
        <p15:guide id="44" orient="horz" pos="2364" userDrawn="1">
          <p15:clr>
            <a:srgbClr val="F26B43"/>
          </p15:clr>
        </p15:guide>
        <p15:guide id="45" orient="horz" pos="1956" userDrawn="1">
          <p15:clr>
            <a:srgbClr val="F26B43"/>
          </p15:clr>
        </p15:guide>
        <p15:guide id="46" orient="horz" pos="2500" userDrawn="1">
          <p15:clr>
            <a:srgbClr val="F26B43"/>
          </p15:clr>
        </p15:guide>
        <p15:guide id="47" orient="horz" pos="2228" userDrawn="1">
          <p15:clr>
            <a:srgbClr val="F26B43"/>
          </p15:clr>
        </p15:guide>
        <p15:guide id="48" orient="horz" pos="2636" userDrawn="1">
          <p15:clr>
            <a:srgbClr val="F26B43"/>
          </p15:clr>
        </p15:guide>
        <p15:guide id="49" orient="horz" pos="2772" userDrawn="1">
          <p15:clr>
            <a:srgbClr val="F26B43"/>
          </p15:clr>
        </p15:guide>
        <p15:guide id="50" orient="horz" pos="2908" userDrawn="1">
          <p15:clr>
            <a:srgbClr val="F26B43"/>
          </p15:clr>
        </p15:guide>
        <p15:guide id="51" orient="horz" pos="3045" userDrawn="1">
          <p15:clr>
            <a:srgbClr val="F26B43"/>
          </p15:clr>
        </p15:guide>
        <p15:guide id="52" orient="horz" pos="3181" userDrawn="1">
          <p15:clr>
            <a:srgbClr val="F26B43"/>
          </p15:clr>
        </p15:guide>
        <p15:guide id="53" orient="horz" pos="3317" userDrawn="1">
          <p15:clr>
            <a:srgbClr val="F26B43"/>
          </p15:clr>
        </p15:guide>
        <p15:guide id="55" orient="horz" pos="3453" userDrawn="1">
          <p15:clr>
            <a:srgbClr val="F26B43"/>
          </p15:clr>
        </p15:guide>
        <p15:guide id="57" orient="horz" pos="3589" userDrawn="1">
          <p15:clr>
            <a:srgbClr val="F26B43"/>
          </p15:clr>
        </p15:guide>
        <p15:guide id="58" orient="horz" pos="3725" userDrawn="1">
          <p15:clr>
            <a:srgbClr val="F26B43"/>
          </p15:clr>
        </p15:guide>
        <p15:guide id="59" orient="horz" pos="3861" userDrawn="1">
          <p15:clr>
            <a:srgbClr val="F26B43"/>
          </p15:clr>
        </p15:guide>
        <p15:guide id="60" orient="horz" pos="3997" userDrawn="1">
          <p15:clr>
            <a:srgbClr val="F26B43"/>
          </p15:clr>
        </p15:guide>
        <p15:guide id="61" orient="horz" pos="4133" userDrawn="1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1">
            <a:extLst>
              <a:ext uri="{FF2B5EF4-FFF2-40B4-BE49-F238E27FC236}">
                <a16:creationId xmlns:a16="http://schemas.microsoft.com/office/drawing/2014/main" id="{6F46B38B-F396-1046-A6EF-5FCCA0D99DFC}"/>
              </a:ext>
            </a:extLst>
          </p:cNvPr>
          <p:cNvSpPr txBox="1">
            <a:spLocks/>
          </p:cNvSpPr>
          <p:nvPr userDrawn="1"/>
        </p:nvSpPr>
        <p:spPr>
          <a:xfrm>
            <a:off x="11158634" y="6382413"/>
            <a:ext cx="460059" cy="21495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D9737D-88D3-4F40-A281-A12720D62BD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cs typeface="Arial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pic>
        <p:nvPicPr>
          <p:cNvPr id="10" name="Picture 18">
            <a:extLst>
              <a:ext uri="{FF2B5EF4-FFF2-40B4-BE49-F238E27FC236}">
                <a16:creationId xmlns:a16="http://schemas.microsoft.com/office/drawing/2014/main" id="{FCDD05DA-9B02-C0FD-501D-305663F1787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9472339" y="301220"/>
            <a:ext cx="2156949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8407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51" r:id="rId3"/>
    <p:sldLayoutId id="2147483750" r:id="rId4"/>
  </p:sldLayoutIdLst>
  <p:txStyles>
    <p:titleStyle>
      <a:lvl1pPr algn="l" defTabSz="1042690" rtl="0" eaLnBrk="1" latinLnBrk="0" hangingPunct="1">
        <a:lnSpc>
          <a:spcPct val="90000"/>
        </a:lnSpc>
        <a:spcBef>
          <a:spcPct val="0"/>
        </a:spcBef>
        <a:buNone/>
        <a:defRPr sz="501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0673" indent="-260673" algn="l" defTabSz="1042690" rtl="0" eaLnBrk="1" latinLnBrk="0" hangingPunct="1">
        <a:lnSpc>
          <a:spcPct val="90000"/>
        </a:lnSpc>
        <a:spcBef>
          <a:spcPts val="1140"/>
        </a:spcBef>
        <a:buFont typeface="Arial" panose="020B0604020202020204" pitchFamily="34" charset="0"/>
        <a:buChar char="•"/>
        <a:defRPr sz="3193" kern="1200">
          <a:solidFill>
            <a:schemeClr val="tx1"/>
          </a:solidFill>
          <a:latin typeface="+mn-lt"/>
          <a:ea typeface="+mn-ea"/>
          <a:cs typeface="+mn-cs"/>
        </a:defRPr>
      </a:lvl1pPr>
      <a:lvl2pPr marL="78201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737" kern="1200">
          <a:solidFill>
            <a:schemeClr val="tx1"/>
          </a:solidFill>
          <a:latin typeface="+mn-lt"/>
          <a:ea typeface="+mn-ea"/>
          <a:cs typeface="+mn-cs"/>
        </a:defRPr>
      </a:lvl2pPr>
      <a:lvl3pPr marL="1303363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281" kern="1200">
          <a:solidFill>
            <a:schemeClr val="tx1"/>
          </a:solidFill>
          <a:latin typeface="+mn-lt"/>
          <a:ea typeface="+mn-ea"/>
          <a:cs typeface="+mn-cs"/>
        </a:defRPr>
      </a:lvl3pPr>
      <a:lvl4pPr marL="182470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4pPr>
      <a:lvl5pPr marL="2346053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5pPr>
      <a:lvl6pPr marL="286739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6pPr>
      <a:lvl7pPr marL="3388744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7pPr>
      <a:lvl8pPr marL="3910089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8pPr>
      <a:lvl9pPr marL="4431434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1pPr>
      <a:lvl2pPr marL="521345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2pPr>
      <a:lvl3pPr marL="1042690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3pPr>
      <a:lvl4pPr marL="1564035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4pPr>
      <a:lvl5pPr marL="208538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5pPr>
      <a:lvl6pPr marL="2606726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6pPr>
      <a:lvl7pPr marL="312807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7pPr>
      <a:lvl8pPr marL="3649416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8pPr>
      <a:lvl9pPr marL="417076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70" userDrawn="1">
          <p15:clr>
            <a:srgbClr val="F26B43"/>
          </p15:clr>
        </p15:guide>
        <p15:guide id="2" pos="824" userDrawn="1">
          <p15:clr>
            <a:srgbClr val="F26B43"/>
          </p15:clr>
        </p15:guide>
        <p15:guide id="3" pos="960" userDrawn="1">
          <p15:clr>
            <a:srgbClr val="F26B43"/>
          </p15:clr>
        </p15:guide>
        <p15:guide id="4" pos="1413" userDrawn="1">
          <p15:clr>
            <a:srgbClr val="F26B43"/>
          </p15:clr>
        </p15:guide>
        <p15:guide id="5" pos="1549" userDrawn="1">
          <p15:clr>
            <a:srgbClr val="F26B43"/>
          </p15:clr>
        </p15:guide>
        <p15:guide id="6" pos="2003" userDrawn="1">
          <p15:clr>
            <a:srgbClr val="F26B43"/>
          </p15:clr>
        </p15:guide>
        <p15:guide id="7" pos="2139" userDrawn="1">
          <p15:clr>
            <a:srgbClr val="F26B43"/>
          </p15:clr>
        </p15:guide>
        <p15:guide id="8" pos="2593" userDrawn="1">
          <p15:clr>
            <a:srgbClr val="F26B43"/>
          </p15:clr>
        </p15:guide>
        <p15:guide id="9" pos="2729" userDrawn="1">
          <p15:clr>
            <a:srgbClr val="F26B43"/>
          </p15:clr>
        </p15:guide>
        <p15:guide id="10" pos="3182" userDrawn="1">
          <p15:clr>
            <a:srgbClr val="F26B43"/>
          </p15:clr>
        </p15:guide>
        <p15:guide id="11" pos="3318" userDrawn="1">
          <p15:clr>
            <a:srgbClr val="F26B43"/>
          </p15:clr>
        </p15:guide>
        <p15:guide id="12" pos="3772" userDrawn="1">
          <p15:clr>
            <a:srgbClr val="F26B43"/>
          </p15:clr>
        </p15:guide>
        <p15:guide id="13" pos="3908" userDrawn="1">
          <p15:clr>
            <a:srgbClr val="F26B43"/>
          </p15:clr>
        </p15:guide>
        <p15:guide id="14" pos="4362" userDrawn="1">
          <p15:clr>
            <a:srgbClr val="F26B43"/>
          </p15:clr>
        </p15:guide>
        <p15:guide id="15" pos="4498" userDrawn="1">
          <p15:clr>
            <a:srgbClr val="F26B43"/>
          </p15:clr>
        </p15:guide>
        <p15:guide id="16" pos="4952" userDrawn="1">
          <p15:clr>
            <a:srgbClr val="F26B43"/>
          </p15:clr>
        </p15:guide>
        <p15:guide id="17" pos="5087" userDrawn="1">
          <p15:clr>
            <a:srgbClr val="F26B43"/>
          </p15:clr>
        </p15:guide>
        <p15:guide id="18" pos="5541" userDrawn="1">
          <p15:clr>
            <a:srgbClr val="F26B43"/>
          </p15:clr>
        </p15:guide>
        <p15:guide id="19" pos="5676" userDrawn="1">
          <p15:clr>
            <a:srgbClr val="F26B43"/>
          </p15:clr>
        </p15:guide>
        <p15:guide id="20" pos="6131" userDrawn="1">
          <p15:clr>
            <a:srgbClr val="F26B43"/>
          </p15:clr>
        </p15:guide>
        <p15:guide id="21" pos="6267" userDrawn="1">
          <p15:clr>
            <a:srgbClr val="F26B43"/>
          </p15:clr>
        </p15:guide>
        <p15:guide id="22" pos="6720" userDrawn="1">
          <p15:clr>
            <a:srgbClr val="F26B43"/>
          </p15:clr>
        </p15:guide>
        <p15:guide id="23" pos="6856" userDrawn="1">
          <p15:clr>
            <a:srgbClr val="F26B43"/>
          </p15:clr>
        </p15:guide>
        <p15:guide id="24" pos="7310" userDrawn="1">
          <p15:clr>
            <a:srgbClr val="F26B43"/>
          </p15:clr>
        </p15:guide>
        <p15:guide id="25" orient="horz" pos="187" userDrawn="1">
          <p15:clr>
            <a:srgbClr val="F26B43"/>
          </p15:clr>
        </p15:guide>
        <p15:guide id="30" orient="horz" pos="864" userDrawn="1">
          <p15:clr>
            <a:srgbClr val="F26B43"/>
          </p15:clr>
        </p15:guide>
        <p15:guide id="33" orient="horz" pos="1003" userDrawn="1">
          <p15:clr>
            <a:srgbClr val="F26B43"/>
          </p15:clr>
        </p15:guide>
        <p15:guide id="34" orient="horz" pos="1275" userDrawn="1">
          <p15:clr>
            <a:srgbClr val="F26B43"/>
          </p15:clr>
        </p15:guide>
        <p15:guide id="36" orient="horz" pos="595" userDrawn="1">
          <p15:clr>
            <a:srgbClr val="F26B43"/>
          </p15:clr>
        </p15:guide>
        <p15:guide id="37" orient="horz" pos="731" userDrawn="1">
          <p15:clr>
            <a:srgbClr val="F26B43"/>
          </p15:clr>
        </p15:guide>
        <p15:guide id="38" orient="horz" pos="1684" userDrawn="1">
          <p15:clr>
            <a:srgbClr val="F26B43"/>
          </p15:clr>
        </p15:guide>
        <p15:guide id="39" orient="horz" pos="1412" userDrawn="1">
          <p15:clr>
            <a:srgbClr val="F26B43"/>
          </p15:clr>
        </p15:guide>
        <p15:guide id="40" orient="horz" pos="1548" userDrawn="1">
          <p15:clr>
            <a:srgbClr val="F26B43"/>
          </p15:clr>
        </p15:guide>
        <p15:guide id="41" orient="horz" pos="1139" userDrawn="1">
          <p15:clr>
            <a:srgbClr val="F26B43"/>
          </p15:clr>
        </p15:guide>
        <p15:guide id="42" orient="horz" pos="2092" userDrawn="1">
          <p15:clr>
            <a:srgbClr val="F26B43"/>
          </p15:clr>
        </p15:guide>
        <p15:guide id="43" orient="horz" pos="1820" userDrawn="1">
          <p15:clr>
            <a:srgbClr val="F26B43"/>
          </p15:clr>
        </p15:guide>
        <p15:guide id="44" orient="horz" pos="2364" userDrawn="1">
          <p15:clr>
            <a:srgbClr val="F26B43"/>
          </p15:clr>
        </p15:guide>
        <p15:guide id="45" orient="horz" pos="1956" userDrawn="1">
          <p15:clr>
            <a:srgbClr val="F26B43"/>
          </p15:clr>
        </p15:guide>
        <p15:guide id="46" orient="horz" pos="2500" userDrawn="1">
          <p15:clr>
            <a:srgbClr val="F26B43"/>
          </p15:clr>
        </p15:guide>
        <p15:guide id="47" orient="horz" pos="2228" userDrawn="1">
          <p15:clr>
            <a:srgbClr val="F26B43"/>
          </p15:clr>
        </p15:guide>
        <p15:guide id="48" orient="horz" pos="2636" userDrawn="1">
          <p15:clr>
            <a:srgbClr val="F26B43"/>
          </p15:clr>
        </p15:guide>
        <p15:guide id="49" orient="horz" pos="2772" userDrawn="1">
          <p15:clr>
            <a:srgbClr val="F26B43"/>
          </p15:clr>
        </p15:guide>
        <p15:guide id="50" orient="horz" pos="2908" userDrawn="1">
          <p15:clr>
            <a:srgbClr val="F26B43"/>
          </p15:clr>
        </p15:guide>
        <p15:guide id="51" orient="horz" pos="3045" userDrawn="1">
          <p15:clr>
            <a:srgbClr val="F26B43"/>
          </p15:clr>
        </p15:guide>
        <p15:guide id="52" orient="horz" pos="3181" userDrawn="1">
          <p15:clr>
            <a:srgbClr val="F26B43"/>
          </p15:clr>
        </p15:guide>
        <p15:guide id="53" orient="horz" pos="3317" userDrawn="1">
          <p15:clr>
            <a:srgbClr val="F26B43"/>
          </p15:clr>
        </p15:guide>
        <p15:guide id="55" orient="horz" pos="3453" userDrawn="1">
          <p15:clr>
            <a:srgbClr val="F26B43"/>
          </p15:clr>
        </p15:guide>
        <p15:guide id="57" orient="horz" pos="3589" userDrawn="1">
          <p15:clr>
            <a:srgbClr val="F26B43"/>
          </p15:clr>
        </p15:guide>
        <p15:guide id="58" orient="horz" pos="3725" userDrawn="1">
          <p15:clr>
            <a:srgbClr val="F26B43"/>
          </p15:clr>
        </p15:guide>
        <p15:guide id="59" orient="horz" pos="3861" userDrawn="1">
          <p15:clr>
            <a:srgbClr val="F26B43"/>
          </p15:clr>
        </p15:guide>
        <p15:guide id="60" orient="horz" pos="3997" userDrawn="1">
          <p15:clr>
            <a:srgbClr val="F26B43"/>
          </p15:clr>
        </p15:guide>
        <p15:guide id="61" orient="horz" pos="4133" userDrawn="1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1">
            <a:extLst>
              <a:ext uri="{FF2B5EF4-FFF2-40B4-BE49-F238E27FC236}">
                <a16:creationId xmlns:a16="http://schemas.microsoft.com/office/drawing/2014/main" id="{6F46B38B-F396-1046-A6EF-5FCCA0D99DFC}"/>
              </a:ext>
            </a:extLst>
          </p:cNvPr>
          <p:cNvSpPr txBox="1">
            <a:spLocks/>
          </p:cNvSpPr>
          <p:nvPr userDrawn="1"/>
        </p:nvSpPr>
        <p:spPr>
          <a:xfrm>
            <a:off x="11158634" y="6382413"/>
            <a:ext cx="460059" cy="21495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D9737D-88D3-4F40-A281-A12720D62BD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Arial" charset="0"/>
                <a:cs typeface="Arial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charset="0"/>
              <a:cs typeface="Arial" charset="0"/>
            </a:endParaRPr>
          </a:p>
        </p:txBody>
      </p:sp>
      <p:pic>
        <p:nvPicPr>
          <p:cNvPr id="9" name="Picture 18">
            <a:extLst>
              <a:ext uri="{FF2B5EF4-FFF2-40B4-BE49-F238E27FC236}">
                <a16:creationId xmlns:a16="http://schemas.microsoft.com/office/drawing/2014/main" id="{EDE09A20-1F60-999A-D562-B2F5071D94F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9472339" y="301220"/>
            <a:ext cx="2156949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3008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762" r:id="rId2"/>
    <p:sldLayoutId id="2147483763" r:id="rId3"/>
    <p:sldLayoutId id="2147483764" r:id="rId4"/>
  </p:sldLayoutIdLst>
  <p:txStyles>
    <p:titleStyle>
      <a:lvl1pPr algn="l" defTabSz="1042690" rtl="0" eaLnBrk="1" latinLnBrk="0" hangingPunct="1">
        <a:lnSpc>
          <a:spcPct val="90000"/>
        </a:lnSpc>
        <a:spcBef>
          <a:spcPct val="0"/>
        </a:spcBef>
        <a:buNone/>
        <a:defRPr sz="501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0673" indent="-260673" algn="l" defTabSz="1042690" rtl="0" eaLnBrk="1" latinLnBrk="0" hangingPunct="1">
        <a:lnSpc>
          <a:spcPct val="90000"/>
        </a:lnSpc>
        <a:spcBef>
          <a:spcPts val="1140"/>
        </a:spcBef>
        <a:buFont typeface="Arial" panose="020B0604020202020204" pitchFamily="34" charset="0"/>
        <a:buChar char="•"/>
        <a:defRPr sz="3193" kern="1200">
          <a:solidFill>
            <a:schemeClr val="tx1"/>
          </a:solidFill>
          <a:latin typeface="+mn-lt"/>
          <a:ea typeface="+mn-ea"/>
          <a:cs typeface="+mn-cs"/>
        </a:defRPr>
      </a:lvl1pPr>
      <a:lvl2pPr marL="78201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737" kern="1200">
          <a:solidFill>
            <a:schemeClr val="tx1"/>
          </a:solidFill>
          <a:latin typeface="+mn-lt"/>
          <a:ea typeface="+mn-ea"/>
          <a:cs typeface="+mn-cs"/>
        </a:defRPr>
      </a:lvl2pPr>
      <a:lvl3pPr marL="1303363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281" kern="1200">
          <a:solidFill>
            <a:schemeClr val="tx1"/>
          </a:solidFill>
          <a:latin typeface="+mn-lt"/>
          <a:ea typeface="+mn-ea"/>
          <a:cs typeface="+mn-cs"/>
        </a:defRPr>
      </a:lvl3pPr>
      <a:lvl4pPr marL="182470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4pPr>
      <a:lvl5pPr marL="2346053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5pPr>
      <a:lvl6pPr marL="286739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6pPr>
      <a:lvl7pPr marL="3388744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7pPr>
      <a:lvl8pPr marL="3910089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8pPr>
      <a:lvl9pPr marL="4431434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1pPr>
      <a:lvl2pPr marL="521345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2pPr>
      <a:lvl3pPr marL="1042690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3pPr>
      <a:lvl4pPr marL="1564035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4pPr>
      <a:lvl5pPr marL="208538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5pPr>
      <a:lvl6pPr marL="2606726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6pPr>
      <a:lvl7pPr marL="312807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7pPr>
      <a:lvl8pPr marL="3649416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8pPr>
      <a:lvl9pPr marL="417076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70" userDrawn="1">
          <p15:clr>
            <a:srgbClr val="F26B43"/>
          </p15:clr>
        </p15:guide>
        <p15:guide id="2" pos="824" userDrawn="1">
          <p15:clr>
            <a:srgbClr val="F26B43"/>
          </p15:clr>
        </p15:guide>
        <p15:guide id="3" pos="960" userDrawn="1">
          <p15:clr>
            <a:srgbClr val="F26B43"/>
          </p15:clr>
        </p15:guide>
        <p15:guide id="4" pos="1413" userDrawn="1">
          <p15:clr>
            <a:srgbClr val="F26B43"/>
          </p15:clr>
        </p15:guide>
        <p15:guide id="5" pos="1549" userDrawn="1">
          <p15:clr>
            <a:srgbClr val="F26B43"/>
          </p15:clr>
        </p15:guide>
        <p15:guide id="6" pos="2003" userDrawn="1">
          <p15:clr>
            <a:srgbClr val="F26B43"/>
          </p15:clr>
        </p15:guide>
        <p15:guide id="7" pos="2139" userDrawn="1">
          <p15:clr>
            <a:srgbClr val="F26B43"/>
          </p15:clr>
        </p15:guide>
        <p15:guide id="8" pos="2593" userDrawn="1">
          <p15:clr>
            <a:srgbClr val="F26B43"/>
          </p15:clr>
        </p15:guide>
        <p15:guide id="9" pos="2729" userDrawn="1">
          <p15:clr>
            <a:srgbClr val="F26B43"/>
          </p15:clr>
        </p15:guide>
        <p15:guide id="10" pos="3182" userDrawn="1">
          <p15:clr>
            <a:srgbClr val="F26B43"/>
          </p15:clr>
        </p15:guide>
        <p15:guide id="11" pos="3318" userDrawn="1">
          <p15:clr>
            <a:srgbClr val="F26B43"/>
          </p15:clr>
        </p15:guide>
        <p15:guide id="12" pos="3772" userDrawn="1">
          <p15:clr>
            <a:srgbClr val="F26B43"/>
          </p15:clr>
        </p15:guide>
        <p15:guide id="13" pos="3908" userDrawn="1">
          <p15:clr>
            <a:srgbClr val="F26B43"/>
          </p15:clr>
        </p15:guide>
        <p15:guide id="14" pos="4362" userDrawn="1">
          <p15:clr>
            <a:srgbClr val="F26B43"/>
          </p15:clr>
        </p15:guide>
        <p15:guide id="15" pos="4498" userDrawn="1">
          <p15:clr>
            <a:srgbClr val="F26B43"/>
          </p15:clr>
        </p15:guide>
        <p15:guide id="16" pos="4952" userDrawn="1">
          <p15:clr>
            <a:srgbClr val="F26B43"/>
          </p15:clr>
        </p15:guide>
        <p15:guide id="17" pos="5087" userDrawn="1">
          <p15:clr>
            <a:srgbClr val="F26B43"/>
          </p15:clr>
        </p15:guide>
        <p15:guide id="18" pos="5541" userDrawn="1">
          <p15:clr>
            <a:srgbClr val="F26B43"/>
          </p15:clr>
        </p15:guide>
        <p15:guide id="19" pos="5676" userDrawn="1">
          <p15:clr>
            <a:srgbClr val="F26B43"/>
          </p15:clr>
        </p15:guide>
        <p15:guide id="20" pos="6131" userDrawn="1">
          <p15:clr>
            <a:srgbClr val="F26B43"/>
          </p15:clr>
        </p15:guide>
        <p15:guide id="21" pos="6267" userDrawn="1">
          <p15:clr>
            <a:srgbClr val="F26B43"/>
          </p15:clr>
        </p15:guide>
        <p15:guide id="22" pos="6720" userDrawn="1">
          <p15:clr>
            <a:srgbClr val="F26B43"/>
          </p15:clr>
        </p15:guide>
        <p15:guide id="23" pos="6856" userDrawn="1">
          <p15:clr>
            <a:srgbClr val="F26B43"/>
          </p15:clr>
        </p15:guide>
        <p15:guide id="24" pos="7310" userDrawn="1">
          <p15:clr>
            <a:srgbClr val="F26B43"/>
          </p15:clr>
        </p15:guide>
        <p15:guide id="25" orient="horz" pos="187" userDrawn="1">
          <p15:clr>
            <a:srgbClr val="F26B43"/>
          </p15:clr>
        </p15:guide>
        <p15:guide id="30" orient="horz" pos="864" userDrawn="1">
          <p15:clr>
            <a:srgbClr val="F26B43"/>
          </p15:clr>
        </p15:guide>
        <p15:guide id="33" orient="horz" pos="1003" userDrawn="1">
          <p15:clr>
            <a:srgbClr val="F26B43"/>
          </p15:clr>
        </p15:guide>
        <p15:guide id="34" orient="horz" pos="1275" userDrawn="1">
          <p15:clr>
            <a:srgbClr val="F26B43"/>
          </p15:clr>
        </p15:guide>
        <p15:guide id="36" orient="horz" pos="595" userDrawn="1">
          <p15:clr>
            <a:srgbClr val="F26B43"/>
          </p15:clr>
        </p15:guide>
        <p15:guide id="37" orient="horz" pos="731" userDrawn="1">
          <p15:clr>
            <a:srgbClr val="F26B43"/>
          </p15:clr>
        </p15:guide>
        <p15:guide id="38" orient="horz" pos="1684" userDrawn="1">
          <p15:clr>
            <a:srgbClr val="F26B43"/>
          </p15:clr>
        </p15:guide>
        <p15:guide id="39" orient="horz" pos="1412" userDrawn="1">
          <p15:clr>
            <a:srgbClr val="F26B43"/>
          </p15:clr>
        </p15:guide>
        <p15:guide id="40" orient="horz" pos="1548" userDrawn="1">
          <p15:clr>
            <a:srgbClr val="F26B43"/>
          </p15:clr>
        </p15:guide>
        <p15:guide id="41" orient="horz" pos="1139" userDrawn="1">
          <p15:clr>
            <a:srgbClr val="F26B43"/>
          </p15:clr>
        </p15:guide>
        <p15:guide id="42" orient="horz" pos="2092" userDrawn="1">
          <p15:clr>
            <a:srgbClr val="F26B43"/>
          </p15:clr>
        </p15:guide>
        <p15:guide id="43" orient="horz" pos="1820" userDrawn="1">
          <p15:clr>
            <a:srgbClr val="F26B43"/>
          </p15:clr>
        </p15:guide>
        <p15:guide id="44" orient="horz" pos="2364" userDrawn="1">
          <p15:clr>
            <a:srgbClr val="F26B43"/>
          </p15:clr>
        </p15:guide>
        <p15:guide id="45" orient="horz" pos="1956" userDrawn="1">
          <p15:clr>
            <a:srgbClr val="F26B43"/>
          </p15:clr>
        </p15:guide>
        <p15:guide id="46" orient="horz" pos="2500" userDrawn="1">
          <p15:clr>
            <a:srgbClr val="F26B43"/>
          </p15:clr>
        </p15:guide>
        <p15:guide id="47" orient="horz" pos="2228" userDrawn="1">
          <p15:clr>
            <a:srgbClr val="F26B43"/>
          </p15:clr>
        </p15:guide>
        <p15:guide id="48" orient="horz" pos="2636" userDrawn="1">
          <p15:clr>
            <a:srgbClr val="F26B43"/>
          </p15:clr>
        </p15:guide>
        <p15:guide id="49" orient="horz" pos="2772" userDrawn="1">
          <p15:clr>
            <a:srgbClr val="F26B43"/>
          </p15:clr>
        </p15:guide>
        <p15:guide id="50" orient="horz" pos="2908" userDrawn="1">
          <p15:clr>
            <a:srgbClr val="F26B43"/>
          </p15:clr>
        </p15:guide>
        <p15:guide id="51" orient="horz" pos="3045" userDrawn="1">
          <p15:clr>
            <a:srgbClr val="F26B43"/>
          </p15:clr>
        </p15:guide>
        <p15:guide id="52" orient="horz" pos="3181" userDrawn="1">
          <p15:clr>
            <a:srgbClr val="F26B43"/>
          </p15:clr>
        </p15:guide>
        <p15:guide id="53" orient="horz" pos="3317" userDrawn="1">
          <p15:clr>
            <a:srgbClr val="F26B43"/>
          </p15:clr>
        </p15:guide>
        <p15:guide id="55" orient="horz" pos="3453" userDrawn="1">
          <p15:clr>
            <a:srgbClr val="F26B43"/>
          </p15:clr>
        </p15:guide>
        <p15:guide id="57" orient="horz" pos="3589" userDrawn="1">
          <p15:clr>
            <a:srgbClr val="F26B43"/>
          </p15:clr>
        </p15:guide>
        <p15:guide id="58" orient="horz" pos="3725" userDrawn="1">
          <p15:clr>
            <a:srgbClr val="F26B43"/>
          </p15:clr>
        </p15:guide>
        <p15:guide id="59" orient="horz" pos="3861" userDrawn="1">
          <p15:clr>
            <a:srgbClr val="F26B43"/>
          </p15:clr>
        </p15:guide>
        <p15:guide id="60" orient="horz" pos="3997" userDrawn="1">
          <p15:clr>
            <a:srgbClr val="F26B43"/>
          </p15:clr>
        </p15:guide>
        <p15:guide id="61" orient="horz" pos="4133" userDrawn="1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1">
            <a:extLst>
              <a:ext uri="{FF2B5EF4-FFF2-40B4-BE49-F238E27FC236}">
                <a16:creationId xmlns:a16="http://schemas.microsoft.com/office/drawing/2014/main" id="{6F46B38B-F396-1046-A6EF-5FCCA0D99DFC}"/>
              </a:ext>
            </a:extLst>
          </p:cNvPr>
          <p:cNvSpPr txBox="1">
            <a:spLocks/>
          </p:cNvSpPr>
          <p:nvPr userDrawn="1"/>
        </p:nvSpPr>
        <p:spPr>
          <a:xfrm>
            <a:off x="11158634" y="6382413"/>
            <a:ext cx="460059" cy="21495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D9737D-88D3-4F40-A281-A12720D62BD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cs typeface="Arial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pic>
        <p:nvPicPr>
          <p:cNvPr id="9" name="Picture 18">
            <a:extLst>
              <a:ext uri="{FF2B5EF4-FFF2-40B4-BE49-F238E27FC236}">
                <a16:creationId xmlns:a16="http://schemas.microsoft.com/office/drawing/2014/main" id="{06DCCDD1-F379-E831-6BF3-C512091CF22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9472339" y="301220"/>
            <a:ext cx="2156949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9033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</p:sldLayoutIdLst>
  <p:txStyles>
    <p:titleStyle>
      <a:lvl1pPr algn="l" defTabSz="1042690" rtl="0" eaLnBrk="1" latinLnBrk="0" hangingPunct="1">
        <a:lnSpc>
          <a:spcPct val="90000"/>
        </a:lnSpc>
        <a:spcBef>
          <a:spcPct val="0"/>
        </a:spcBef>
        <a:buNone/>
        <a:defRPr sz="501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0673" indent="-260673" algn="l" defTabSz="1042690" rtl="0" eaLnBrk="1" latinLnBrk="0" hangingPunct="1">
        <a:lnSpc>
          <a:spcPct val="90000"/>
        </a:lnSpc>
        <a:spcBef>
          <a:spcPts val="1140"/>
        </a:spcBef>
        <a:buFont typeface="Arial" panose="020B0604020202020204" pitchFamily="34" charset="0"/>
        <a:buChar char="•"/>
        <a:defRPr sz="3193" kern="1200">
          <a:solidFill>
            <a:schemeClr val="tx1"/>
          </a:solidFill>
          <a:latin typeface="+mn-lt"/>
          <a:ea typeface="+mn-ea"/>
          <a:cs typeface="+mn-cs"/>
        </a:defRPr>
      </a:lvl1pPr>
      <a:lvl2pPr marL="78201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737" kern="1200">
          <a:solidFill>
            <a:schemeClr val="tx1"/>
          </a:solidFill>
          <a:latin typeface="+mn-lt"/>
          <a:ea typeface="+mn-ea"/>
          <a:cs typeface="+mn-cs"/>
        </a:defRPr>
      </a:lvl2pPr>
      <a:lvl3pPr marL="1303363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281" kern="1200">
          <a:solidFill>
            <a:schemeClr val="tx1"/>
          </a:solidFill>
          <a:latin typeface="+mn-lt"/>
          <a:ea typeface="+mn-ea"/>
          <a:cs typeface="+mn-cs"/>
        </a:defRPr>
      </a:lvl3pPr>
      <a:lvl4pPr marL="182470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4pPr>
      <a:lvl5pPr marL="2346053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5pPr>
      <a:lvl6pPr marL="286739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6pPr>
      <a:lvl7pPr marL="3388744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7pPr>
      <a:lvl8pPr marL="3910089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8pPr>
      <a:lvl9pPr marL="4431434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1pPr>
      <a:lvl2pPr marL="521345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2pPr>
      <a:lvl3pPr marL="1042690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3pPr>
      <a:lvl4pPr marL="1564035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4pPr>
      <a:lvl5pPr marL="208538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5pPr>
      <a:lvl6pPr marL="2606726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6pPr>
      <a:lvl7pPr marL="312807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7pPr>
      <a:lvl8pPr marL="3649416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8pPr>
      <a:lvl9pPr marL="417076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70" userDrawn="1">
          <p15:clr>
            <a:srgbClr val="F26B43"/>
          </p15:clr>
        </p15:guide>
        <p15:guide id="2" pos="824" userDrawn="1">
          <p15:clr>
            <a:srgbClr val="F26B43"/>
          </p15:clr>
        </p15:guide>
        <p15:guide id="3" pos="960" userDrawn="1">
          <p15:clr>
            <a:srgbClr val="F26B43"/>
          </p15:clr>
        </p15:guide>
        <p15:guide id="4" pos="1413" userDrawn="1">
          <p15:clr>
            <a:srgbClr val="F26B43"/>
          </p15:clr>
        </p15:guide>
        <p15:guide id="5" pos="1549" userDrawn="1">
          <p15:clr>
            <a:srgbClr val="F26B43"/>
          </p15:clr>
        </p15:guide>
        <p15:guide id="6" pos="2003" userDrawn="1">
          <p15:clr>
            <a:srgbClr val="F26B43"/>
          </p15:clr>
        </p15:guide>
        <p15:guide id="7" pos="2139" userDrawn="1">
          <p15:clr>
            <a:srgbClr val="F26B43"/>
          </p15:clr>
        </p15:guide>
        <p15:guide id="8" pos="2593" userDrawn="1">
          <p15:clr>
            <a:srgbClr val="F26B43"/>
          </p15:clr>
        </p15:guide>
        <p15:guide id="9" pos="2729" userDrawn="1">
          <p15:clr>
            <a:srgbClr val="F26B43"/>
          </p15:clr>
        </p15:guide>
        <p15:guide id="10" pos="3182" userDrawn="1">
          <p15:clr>
            <a:srgbClr val="F26B43"/>
          </p15:clr>
        </p15:guide>
        <p15:guide id="11" pos="3318" userDrawn="1">
          <p15:clr>
            <a:srgbClr val="F26B43"/>
          </p15:clr>
        </p15:guide>
        <p15:guide id="12" pos="3772" userDrawn="1">
          <p15:clr>
            <a:srgbClr val="F26B43"/>
          </p15:clr>
        </p15:guide>
        <p15:guide id="13" pos="3908" userDrawn="1">
          <p15:clr>
            <a:srgbClr val="F26B43"/>
          </p15:clr>
        </p15:guide>
        <p15:guide id="14" pos="4362" userDrawn="1">
          <p15:clr>
            <a:srgbClr val="F26B43"/>
          </p15:clr>
        </p15:guide>
        <p15:guide id="15" pos="4498" userDrawn="1">
          <p15:clr>
            <a:srgbClr val="F26B43"/>
          </p15:clr>
        </p15:guide>
        <p15:guide id="16" pos="4952" userDrawn="1">
          <p15:clr>
            <a:srgbClr val="F26B43"/>
          </p15:clr>
        </p15:guide>
        <p15:guide id="17" pos="5087" userDrawn="1">
          <p15:clr>
            <a:srgbClr val="F26B43"/>
          </p15:clr>
        </p15:guide>
        <p15:guide id="18" pos="5541" userDrawn="1">
          <p15:clr>
            <a:srgbClr val="F26B43"/>
          </p15:clr>
        </p15:guide>
        <p15:guide id="19" pos="5676" userDrawn="1">
          <p15:clr>
            <a:srgbClr val="F26B43"/>
          </p15:clr>
        </p15:guide>
        <p15:guide id="20" pos="6131" userDrawn="1">
          <p15:clr>
            <a:srgbClr val="F26B43"/>
          </p15:clr>
        </p15:guide>
        <p15:guide id="21" pos="6267" userDrawn="1">
          <p15:clr>
            <a:srgbClr val="F26B43"/>
          </p15:clr>
        </p15:guide>
        <p15:guide id="22" pos="6720" userDrawn="1">
          <p15:clr>
            <a:srgbClr val="F26B43"/>
          </p15:clr>
        </p15:guide>
        <p15:guide id="23" pos="6856" userDrawn="1">
          <p15:clr>
            <a:srgbClr val="F26B43"/>
          </p15:clr>
        </p15:guide>
        <p15:guide id="24" pos="7310" userDrawn="1">
          <p15:clr>
            <a:srgbClr val="F26B43"/>
          </p15:clr>
        </p15:guide>
        <p15:guide id="25" orient="horz" pos="187" userDrawn="1">
          <p15:clr>
            <a:srgbClr val="F26B43"/>
          </p15:clr>
        </p15:guide>
        <p15:guide id="30" orient="horz" pos="864" userDrawn="1">
          <p15:clr>
            <a:srgbClr val="F26B43"/>
          </p15:clr>
        </p15:guide>
        <p15:guide id="33" orient="horz" pos="1003" userDrawn="1">
          <p15:clr>
            <a:srgbClr val="F26B43"/>
          </p15:clr>
        </p15:guide>
        <p15:guide id="34" orient="horz" pos="1275" userDrawn="1">
          <p15:clr>
            <a:srgbClr val="F26B43"/>
          </p15:clr>
        </p15:guide>
        <p15:guide id="36" orient="horz" pos="595" userDrawn="1">
          <p15:clr>
            <a:srgbClr val="F26B43"/>
          </p15:clr>
        </p15:guide>
        <p15:guide id="37" orient="horz" pos="731" userDrawn="1">
          <p15:clr>
            <a:srgbClr val="F26B43"/>
          </p15:clr>
        </p15:guide>
        <p15:guide id="38" orient="horz" pos="1684" userDrawn="1">
          <p15:clr>
            <a:srgbClr val="F26B43"/>
          </p15:clr>
        </p15:guide>
        <p15:guide id="39" orient="horz" pos="1412" userDrawn="1">
          <p15:clr>
            <a:srgbClr val="F26B43"/>
          </p15:clr>
        </p15:guide>
        <p15:guide id="40" orient="horz" pos="1548" userDrawn="1">
          <p15:clr>
            <a:srgbClr val="F26B43"/>
          </p15:clr>
        </p15:guide>
        <p15:guide id="41" orient="horz" pos="1139" userDrawn="1">
          <p15:clr>
            <a:srgbClr val="F26B43"/>
          </p15:clr>
        </p15:guide>
        <p15:guide id="42" orient="horz" pos="2092" userDrawn="1">
          <p15:clr>
            <a:srgbClr val="F26B43"/>
          </p15:clr>
        </p15:guide>
        <p15:guide id="43" orient="horz" pos="1820" userDrawn="1">
          <p15:clr>
            <a:srgbClr val="F26B43"/>
          </p15:clr>
        </p15:guide>
        <p15:guide id="44" orient="horz" pos="2364" userDrawn="1">
          <p15:clr>
            <a:srgbClr val="F26B43"/>
          </p15:clr>
        </p15:guide>
        <p15:guide id="45" orient="horz" pos="1956" userDrawn="1">
          <p15:clr>
            <a:srgbClr val="F26B43"/>
          </p15:clr>
        </p15:guide>
        <p15:guide id="46" orient="horz" pos="2500" userDrawn="1">
          <p15:clr>
            <a:srgbClr val="F26B43"/>
          </p15:clr>
        </p15:guide>
        <p15:guide id="47" orient="horz" pos="2228" userDrawn="1">
          <p15:clr>
            <a:srgbClr val="F26B43"/>
          </p15:clr>
        </p15:guide>
        <p15:guide id="48" orient="horz" pos="2636" userDrawn="1">
          <p15:clr>
            <a:srgbClr val="F26B43"/>
          </p15:clr>
        </p15:guide>
        <p15:guide id="49" orient="horz" pos="2772" userDrawn="1">
          <p15:clr>
            <a:srgbClr val="F26B43"/>
          </p15:clr>
        </p15:guide>
        <p15:guide id="50" orient="horz" pos="2908" userDrawn="1">
          <p15:clr>
            <a:srgbClr val="F26B43"/>
          </p15:clr>
        </p15:guide>
        <p15:guide id="51" orient="horz" pos="3045" userDrawn="1">
          <p15:clr>
            <a:srgbClr val="F26B43"/>
          </p15:clr>
        </p15:guide>
        <p15:guide id="52" orient="horz" pos="3181" userDrawn="1">
          <p15:clr>
            <a:srgbClr val="F26B43"/>
          </p15:clr>
        </p15:guide>
        <p15:guide id="53" orient="horz" pos="3317" userDrawn="1">
          <p15:clr>
            <a:srgbClr val="F26B43"/>
          </p15:clr>
        </p15:guide>
        <p15:guide id="55" orient="horz" pos="3453" userDrawn="1">
          <p15:clr>
            <a:srgbClr val="F26B43"/>
          </p15:clr>
        </p15:guide>
        <p15:guide id="57" orient="horz" pos="3589" userDrawn="1">
          <p15:clr>
            <a:srgbClr val="F26B43"/>
          </p15:clr>
        </p15:guide>
        <p15:guide id="58" orient="horz" pos="3725" userDrawn="1">
          <p15:clr>
            <a:srgbClr val="F26B43"/>
          </p15:clr>
        </p15:guide>
        <p15:guide id="59" orient="horz" pos="3861" userDrawn="1">
          <p15:clr>
            <a:srgbClr val="F26B43"/>
          </p15:clr>
        </p15:guide>
        <p15:guide id="60" orient="horz" pos="3997" userDrawn="1">
          <p15:clr>
            <a:srgbClr val="F26B43"/>
          </p15:clr>
        </p15:guide>
        <p15:guide id="61" orient="horz" pos="4133" userDrawn="1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6833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76" r:id="rId2"/>
  </p:sldLayoutIdLst>
  <p:txStyles>
    <p:titleStyle>
      <a:lvl1pPr algn="l" defTabSz="1042690" rtl="0" eaLnBrk="1" latinLnBrk="0" hangingPunct="1">
        <a:lnSpc>
          <a:spcPct val="90000"/>
        </a:lnSpc>
        <a:spcBef>
          <a:spcPct val="0"/>
        </a:spcBef>
        <a:buNone/>
        <a:defRPr sz="501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0673" indent="-260673" algn="l" defTabSz="1042690" rtl="0" eaLnBrk="1" latinLnBrk="0" hangingPunct="1">
        <a:lnSpc>
          <a:spcPct val="90000"/>
        </a:lnSpc>
        <a:spcBef>
          <a:spcPts val="1140"/>
        </a:spcBef>
        <a:buFont typeface="Arial" panose="020B0604020202020204" pitchFamily="34" charset="0"/>
        <a:buChar char="•"/>
        <a:defRPr sz="3193" kern="1200">
          <a:solidFill>
            <a:schemeClr val="tx1"/>
          </a:solidFill>
          <a:latin typeface="+mn-lt"/>
          <a:ea typeface="+mn-ea"/>
          <a:cs typeface="+mn-cs"/>
        </a:defRPr>
      </a:lvl1pPr>
      <a:lvl2pPr marL="78201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737" kern="1200">
          <a:solidFill>
            <a:schemeClr val="tx1"/>
          </a:solidFill>
          <a:latin typeface="+mn-lt"/>
          <a:ea typeface="+mn-ea"/>
          <a:cs typeface="+mn-cs"/>
        </a:defRPr>
      </a:lvl2pPr>
      <a:lvl3pPr marL="1303363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281" kern="1200">
          <a:solidFill>
            <a:schemeClr val="tx1"/>
          </a:solidFill>
          <a:latin typeface="+mn-lt"/>
          <a:ea typeface="+mn-ea"/>
          <a:cs typeface="+mn-cs"/>
        </a:defRPr>
      </a:lvl3pPr>
      <a:lvl4pPr marL="182470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4pPr>
      <a:lvl5pPr marL="2346053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5pPr>
      <a:lvl6pPr marL="286739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6pPr>
      <a:lvl7pPr marL="3388744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7pPr>
      <a:lvl8pPr marL="3910089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8pPr>
      <a:lvl9pPr marL="4431434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1pPr>
      <a:lvl2pPr marL="521345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2pPr>
      <a:lvl3pPr marL="1042690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3pPr>
      <a:lvl4pPr marL="1564035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4pPr>
      <a:lvl5pPr marL="208538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5pPr>
      <a:lvl6pPr marL="2606726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6pPr>
      <a:lvl7pPr marL="312807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7pPr>
      <a:lvl8pPr marL="3649416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8pPr>
      <a:lvl9pPr marL="417076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70" userDrawn="1">
          <p15:clr>
            <a:srgbClr val="F26B43"/>
          </p15:clr>
        </p15:guide>
        <p15:guide id="2" orient="horz" pos="3997" userDrawn="1">
          <p15:clr>
            <a:srgbClr val="F26B43"/>
          </p15:clr>
        </p15:guide>
        <p15:guide id="3" orient="horz" pos="323" userDrawn="1">
          <p15:clr>
            <a:srgbClr val="F26B43"/>
          </p15:clr>
        </p15:guide>
        <p15:guide id="4" orient="horz" pos="1820" userDrawn="1">
          <p15:clr>
            <a:srgbClr val="F26B43"/>
          </p15:clr>
        </p15:guide>
        <p15:guide id="5" orient="horz" pos="1956" userDrawn="1">
          <p15:clr>
            <a:srgbClr val="F26B43"/>
          </p15:clr>
        </p15:guide>
        <p15:guide id="6" orient="horz" pos="2092" userDrawn="1">
          <p15:clr>
            <a:srgbClr val="F26B43"/>
          </p15:clr>
        </p15:guide>
        <p15:guide id="7" orient="horz" pos="2228" userDrawn="1">
          <p15:clr>
            <a:srgbClr val="F26B43"/>
          </p15:clr>
        </p15:guide>
        <p15:guide id="8" orient="horz" pos="2364" userDrawn="1">
          <p15:clr>
            <a:srgbClr val="F26B43"/>
          </p15:clr>
        </p15:guide>
        <p15:guide id="9" orient="horz" pos="2500" userDrawn="1">
          <p15:clr>
            <a:srgbClr val="F26B43"/>
          </p15:clr>
        </p15:guide>
        <p15:guide id="10" orient="horz" pos="2636" userDrawn="1">
          <p15:clr>
            <a:srgbClr val="F26B43"/>
          </p15:clr>
        </p15:guide>
        <p15:guide id="11" orient="horz" pos="2772" userDrawn="1">
          <p15:clr>
            <a:srgbClr val="F26B43"/>
          </p15:clr>
        </p15:guide>
        <p15:guide id="12" orient="horz" pos="2908" userDrawn="1">
          <p15:clr>
            <a:srgbClr val="F26B43"/>
          </p15:clr>
        </p15:guide>
        <p15:guide id="13" orient="horz" pos="3045" userDrawn="1">
          <p15:clr>
            <a:srgbClr val="F26B43"/>
          </p15:clr>
        </p15:guide>
        <p15:guide id="14" orient="horz" pos="3181" userDrawn="1">
          <p15:clr>
            <a:srgbClr val="F26B43"/>
          </p15:clr>
        </p15:guide>
        <p15:guide id="15" orient="horz" pos="3317" userDrawn="1">
          <p15:clr>
            <a:srgbClr val="F26B43"/>
          </p15:clr>
        </p15:guide>
        <p15:guide id="16" orient="horz" pos="3453" userDrawn="1">
          <p15:clr>
            <a:srgbClr val="F26B43"/>
          </p15:clr>
        </p15:guide>
        <p15:guide id="17" orient="horz" pos="3589" userDrawn="1">
          <p15:clr>
            <a:srgbClr val="F26B43"/>
          </p15:clr>
        </p15:guide>
        <p15:guide id="18" orient="horz" pos="3725" userDrawn="1">
          <p15:clr>
            <a:srgbClr val="F26B43"/>
          </p15:clr>
        </p15:guide>
        <p15:guide id="19" orient="horz" pos="386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34348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85" r:id="rId2"/>
  </p:sldLayoutIdLst>
  <p:txStyles>
    <p:titleStyle>
      <a:lvl1pPr algn="l" defTabSz="1042690" rtl="0" eaLnBrk="1" latinLnBrk="0" hangingPunct="1">
        <a:lnSpc>
          <a:spcPct val="90000"/>
        </a:lnSpc>
        <a:spcBef>
          <a:spcPct val="0"/>
        </a:spcBef>
        <a:buNone/>
        <a:defRPr sz="501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0673" indent="-260673" algn="l" defTabSz="1042690" rtl="0" eaLnBrk="1" latinLnBrk="0" hangingPunct="1">
        <a:lnSpc>
          <a:spcPct val="90000"/>
        </a:lnSpc>
        <a:spcBef>
          <a:spcPts val="1140"/>
        </a:spcBef>
        <a:buFont typeface="Arial" panose="020B0604020202020204" pitchFamily="34" charset="0"/>
        <a:buChar char="•"/>
        <a:defRPr sz="3193" kern="1200">
          <a:solidFill>
            <a:schemeClr val="tx1"/>
          </a:solidFill>
          <a:latin typeface="+mn-lt"/>
          <a:ea typeface="+mn-ea"/>
          <a:cs typeface="+mn-cs"/>
        </a:defRPr>
      </a:lvl1pPr>
      <a:lvl2pPr marL="78201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737" kern="1200">
          <a:solidFill>
            <a:schemeClr val="tx1"/>
          </a:solidFill>
          <a:latin typeface="+mn-lt"/>
          <a:ea typeface="+mn-ea"/>
          <a:cs typeface="+mn-cs"/>
        </a:defRPr>
      </a:lvl2pPr>
      <a:lvl3pPr marL="1303363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281" kern="1200">
          <a:solidFill>
            <a:schemeClr val="tx1"/>
          </a:solidFill>
          <a:latin typeface="+mn-lt"/>
          <a:ea typeface="+mn-ea"/>
          <a:cs typeface="+mn-cs"/>
        </a:defRPr>
      </a:lvl3pPr>
      <a:lvl4pPr marL="182470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4pPr>
      <a:lvl5pPr marL="2346053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5pPr>
      <a:lvl6pPr marL="286739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6pPr>
      <a:lvl7pPr marL="3388744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7pPr>
      <a:lvl8pPr marL="3910089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8pPr>
      <a:lvl9pPr marL="4431434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1pPr>
      <a:lvl2pPr marL="521345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2pPr>
      <a:lvl3pPr marL="1042690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3pPr>
      <a:lvl4pPr marL="1564035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4pPr>
      <a:lvl5pPr marL="208538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5pPr>
      <a:lvl6pPr marL="2606726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6pPr>
      <a:lvl7pPr marL="312807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7pPr>
      <a:lvl8pPr marL="3649416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8pPr>
      <a:lvl9pPr marL="417076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70" userDrawn="1">
          <p15:clr>
            <a:srgbClr val="F26B43"/>
          </p15:clr>
        </p15:guide>
        <p15:guide id="2" orient="horz" pos="323" userDrawn="1">
          <p15:clr>
            <a:srgbClr val="F26B43"/>
          </p15:clr>
        </p15:guide>
        <p15:guide id="3" orient="horz" pos="867" userDrawn="1">
          <p15:clr>
            <a:srgbClr val="F26B43"/>
          </p15:clr>
        </p15:guide>
        <p15:guide id="4" pos="5541" userDrawn="1">
          <p15:clr>
            <a:srgbClr val="F26B43"/>
          </p15:clr>
        </p15:guide>
        <p15:guide id="5" orient="horz" pos="3997" userDrawn="1">
          <p15:clr>
            <a:srgbClr val="F26B43"/>
          </p15:clr>
        </p15:guide>
        <p15:guide id="6" orient="horz" pos="3861" userDrawn="1">
          <p15:clr>
            <a:srgbClr val="F26B43"/>
          </p15:clr>
        </p15:guide>
        <p15:guide id="7" orient="horz" pos="3725" userDrawn="1">
          <p15:clr>
            <a:srgbClr val="F26B43"/>
          </p15:clr>
        </p15:guide>
        <p15:guide id="8" orient="horz" pos="3589" userDrawn="1">
          <p15:clr>
            <a:srgbClr val="F26B43"/>
          </p15:clr>
        </p15:guide>
        <p15:guide id="9" orient="horz" pos="3453" userDrawn="1">
          <p15:clr>
            <a:srgbClr val="F26B43"/>
          </p15:clr>
        </p15:guide>
        <p15:guide id="10" orient="horz" pos="3317" userDrawn="1">
          <p15:clr>
            <a:srgbClr val="F26B43"/>
          </p15:clr>
        </p15:guide>
        <p15:guide id="11" orient="horz" pos="3181" userDrawn="1">
          <p15:clr>
            <a:srgbClr val="F26B43"/>
          </p15:clr>
        </p15:guide>
        <p15:guide id="12" orient="horz" pos="3045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86418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3" r:id="rId1"/>
    <p:sldLayoutId id="2147483864" r:id="rId2"/>
  </p:sldLayoutIdLst>
  <p:txStyles>
    <p:titleStyle>
      <a:lvl1pPr algn="l" defTabSz="1042690" rtl="0" eaLnBrk="1" latinLnBrk="0" hangingPunct="1">
        <a:lnSpc>
          <a:spcPct val="90000"/>
        </a:lnSpc>
        <a:spcBef>
          <a:spcPct val="0"/>
        </a:spcBef>
        <a:buNone/>
        <a:defRPr sz="501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0673" indent="-260673" algn="l" defTabSz="1042690" rtl="0" eaLnBrk="1" latinLnBrk="0" hangingPunct="1">
        <a:lnSpc>
          <a:spcPct val="90000"/>
        </a:lnSpc>
        <a:spcBef>
          <a:spcPts val="1140"/>
        </a:spcBef>
        <a:buFont typeface="Arial" panose="020B0604020202020204" pitchFamily="34" charset="0"/>
        <a:buChar char="•"/>
        <a:defRPr sz="3193" kern="1200">
          <a:solidFill>
            <a:schemeClr val="tx1"/>
          </a:solidFill>
          <a:latin typeface="+mn-lt"/>
          <a:ea typeface="+mn-ea"/>
          <a:cs typeface="+mn-cs"/>
        </a:defRPr>
      </a:lvl1pPr>
      <a:lvl2pPr marL="78201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737" kern="1200">
          <a:solidFill>
            <a:schemeClr val="tx1"/>
          </a:solidFill>
          <a:latin typeface="+mn-lt"/>
          <a:ea typeface="+mn-ea"/>
          <a:cs typeface="+mn-cs"/>
        </a:defRPr>
      </a:lvl2pPr>
      <a:lvl3pPr marL="1303363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281" kern="1200">
          <a:solidFill>
            <a:schemeClr val="tx1"/>
          </a:solidFill>
          <a:latin typeface="+mn-lt"/>
          <a:ea typeface="+mn-ea"/>
          <a:cs typeface="+mn-cs"/>
        </a:defRPr>
      </a:lvl3pPr>
      <a:lvl4pPr marL="182470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4pPr>
      <a:lvl5pPr marL="2346053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5pPr>
      <a:lvl6pPr marL="286739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6pPr>
      <a:lvl7pPr marL="3388744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7pPr>
      <a:lvl8pPr marL="3910089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8pPr>
      <a:lvl9pPr marL="4431434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1pPr>
      <a:lvl2pPr marL="521345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2pPr>
      <a:lvl3pPr marL="1042690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3pPr>
      <a:lvl4pPr marL="1564035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4pPr>
      <a:lvl5pPr marL="208538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5pPr>
      <a:lvl6pPr marL="2606726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6pPr>
      <a:lvl7pPr marL="312807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7pPr>
      <a:lvl8pPr marL="3649416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8pPr>
      <a:lvl9pPr marL="417076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70" userDrawn="1">
          <p15:clr>
            <a:srgbClr val="F26B43"/>
          </p15:clr>
        </p15:guide>
        <p15:guide id="2" orient="horz" pos="867" userDrawn="1">
          <p15:clr>
            <a:srgbClr val="F26B43"/>
          </p15:clr>
        </p15:guide>
        <p15:guide id="3" orient="horz" pos="323" userDrawn="1">
          <p15:clr>
            <a:srgbClr val="F26B43"/>
          </p15:clr>
        </p15:guide>
        <p15:guide id="4" pos="5541" userDrawn="1">
          <p15:clr>
            <a:srgbClr val="F26B43"/>
          </p15:clr>
        </p15:guide>
        <p15:guide id="5" orient="horz" pos="3997" userDrawn="1">
          <p15:clr>
            <a:srgbClr val="F26B43"/>
          </p15:clr>
        </p15:guide>
        <p15:guide id="6" orient="horz" pos="3861" userDrawn="1">
          <p15:clr>
            <a:srgbClr val="F26B43"/>
          </p15:clr>
        </p15:guide>
        <p15:guide id="7" orient="horz" pos="3725" userDrawn="1">
          <p15:clr>
            <a:srgbClr val="F26B43"/>
          </p15:clr>
        </p15:guide>
        <p15:guide id="8" orient="horz" pos="3589" userDrawn="1">
          <p15:clr>
            <a:srgbClr val="F26B43"/>
          </p15:clr>
        </p15:guide>
        <p15:guide id="9" orient="horz" pos="3453" userDrawn="1">
          <p15:clr>
            <a:srgbClr val="F26B43"/>
          </p15:clr>
        </p15:guide>
        <p15:guide id="10" orient="horz" pos="3317" userDrawn="1">
          <p15:clr>
            <a:srgbClr val="F26B43"/>
          </p15:clr>
        </p15:guide>
        <p15:guide id="11" orient="horz" pos="3181" userDrawn="1">
          <p15:clr>
            <a:srgbClr val="F26B43"/>
          </p15:clr>
        </p15:guide>
        <p15:guide id="12" orient="horz" pos="3045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8">
            <a:extLst>
              <a:ext uri="{FF2B5EF4-FFF2-40B4-BE49-F238E27FC236}">
                <a16:creationId xmlns:a16="http://schemas.microsoft.com/office/drawing/2014/main" id="{F05AB758-6591-5A9C-B013-B1B66D25DE9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472339" y="301220"/>
            <a:ext cx="2156949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4329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78" r:id="rId2"/>
  </p:sldLayoutIdLst>
  <p:txStyles>
    <p:titleStyle>
      <a:lvl1pPr algn="l" defTabSz="1042690" rtl="0" eaLnBrk="1" latinLnBrk="0" hangingPunct="1">
        <a:lnSpc>
          <a:spcPct val="90000"/>
        </a:lnSpc>
        <a:spcBef>
          <a:spcPct val="0"/>
        </a:spcBef>
        <a:buNone/>
        <a:defRPr sz="501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0673" indent="-260673" algn="l" defTabSz="1042690" rtl="0" eaLnBrk="1" latinLnBrk="0" hangingPunct="1">
        <a:lnSpc>
          <a:spcPct val="90000"/>
        </a:lnSpc>
        <a:spcBef>
          <a:spcPts val="1140"/>
        </a:spcBef>
        <a:buFont typeface="Arial" panose="020B0604020202020204" pitchFamily="34" charset="0"/>
        <a:buChar char="•"/>
        <a:defRPr sz="3193" kern="1200">
          <a:solidFill>
            <a:schemeClr val="tx1"/>
          </a:solidFill>
          <a:latin typeface="+mn-lt"/>
          <a:ea typeface="+mn-ea"/>
          <a:cs typeface="+mn-cs"/>
        </a:defRPr>
      </a:lvl1pPr>
      <a:lvl2pPr marL="78201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737" kern="1200">
          <a:solidFill>
            <a:schemeClr val="tx1"/>
          </a:solidFill>
          <a:latin typeface="+mn-lt"/>
          <a:ea typeface="+mn-ea"/>
          <a:cs typeface="+mn-cs"/>
        </a:defRPr>
      </a:lvl2pPr>
      <a:lvl3pPr marL="1303363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281" kern="1200">
          <a:solidFill>
            <a:schemeClr val="tx1"/>
          </a:solidFill>
          <a:latin typeface="+mn-lt"/>
          <a:ea typeface="+mn-ea"/>
          <a:cs typeface="+mn-cs"/>
        </a:defRPr>
      </a:lvl3pPr>
      <a:lvl4pPr marL="182470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4pPr>
      <a:lvl5pPr marL="2346053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5pPr>
      <a:lvl6pPr marL="286739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6pPr>
      <a:lvl7pPr marL="3388744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7pPr>
      <a:lvl8pPr marL="3910089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8pPr>
      <a:lvl9pPr marL="4431434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1pPr>
      <a:lvl2pPr marL="521345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2pPr>
      <a:lvl3pPr marL="1042690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3pPr>
      <a:lvl4pPr marL="1564035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4pPr>
      <a:lvl5pPr marL="208538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5pPr>
      <a:lvl6pPr marL="2606726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6pPr>
      <a:lvl7pPr marL="312807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7pPr>
      <a:lvl8pPr marL="3649416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8pPr>
      <a:lvl9pPr marL="417076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70" userDrawn="1">
          <p15:clr>
            <a:srgbClr val="F26B43"/>
          </p15:clr>
        </p15:guide>
        <p15:guide id="2" pos="824" userDrawn="1">
          <p15:clr>
            <a:srgbClr val="F26B43"/>
          </p15:clr>
        </p15:guide>
        <p15:guide id="3" pos="960" userDrawn="1">
          <p15:clr>
            <a:srgbClr val="F26B43"/>
          </p15:clr>
        </p15:guide>
        <p15:guide id="4" pos="1413" userDrawn="1">
          <p15:clr>
            <a:srgbClr val="F26B43"/>
          </p15:clr>
        </p15:guide>
        <p15:guide id="5" pos="1549" userDrawn="1">
          <p15:clr>
            <a:srgbClr val="F26B43"/>
          </p15:clr>
        </p15:guide>
        <p15:guide id="6" pos="2003" userDrawn="1">
          <p15:clr>
            <a:srgbClr val="F26B43"/>
          </p15:clr>
        </p15:guide>
        <p15:guide id="7" pos="2139" userDrawn="1">
          <p15:clr>
            <a:srgbClr val="F26B43"/>
          </p15:clr>
        </p15:guide>
        <p15:guide id="8" pos="2593" userDrawn="1">
          <p15:clr>
            <a:srgbClr val="F26B43"/>
          </p15:clr>
        </p15:guide>
        <p15:guide id="9" pos="2729" userDrawn="1">
          <p15:clr>
            <a:srgbClr val="F26B43"/>
          </p15:clr>
        </p15:guide>
        <p15:guide id="10" pos="3182" userDrawn="1">
          <p15:clr>
            <a:srgbClr val="F26B43"/>
          </p15:clr>
        </p15:guide>
        <p15:guide id="11" pos="3318" userDrawn="1">
          <p15:clr>
            <a:srgbClr val="F26B43"/>
          </p15:clr>
        </p15:guide>
        <p15:guide id="12" pos="3772" userDrawn="1">
          <p15:clr>
            <a:srgbClr val="F26B43"/>
          </p15:clr>
        </p15:guide>
        <p15:guide id="13" pos="3908" userDrawn="1">
          <p15:clr>
            <a:srgbClr val="F26B43"/>
          </p15:clr>
        </p15:guide>
        <p15:guide id="14" pos="4357" userDrawn="1">
          <p15:clr>
            <a:srgbClr val="F26B43"/>
          </p15:clr>
        </p15:guide>
        <p15:guide id="15" pos="4498" userDrawn="1">
          <p15:clr>
            <a:srgbClr val="F26B43"/>
          </p15:clr>
        </p15:guide>
        <p15:guide id="16" pos="4952" userDrawn="1">
          <p15:clr>
            <a:srgbClr val="F26B43"/>
          </p15:clr>
        </p15:guide>
        <p15:guide id="17" pos="5081" userDrawn="1">
          <p15:clr>
            <a:srgbClr val="F26B43"/>
          </p15:clr>
        </p15:guide>
        <p15:guide id="18" pos="5541" userDrawn="1">
          <p15:clr>
            <a:srgbClr val="F26B43"/>
          </p15:clr>
        </p15:guide>
        <p15:guide id="19" pos="5676" userDrawn="1">
          <p15:clr>
            <a:srgbClr val="F26B43"/>
          </p15:clr>
        </p15:guide>
        <p15:guide id="20" pos="6131" userDrawn="1">
          <p15:clr>
            <a:srgbClr val="F26B43"/>
          </p15:clr>
        </p15:guide>
        <p15:guide id="21" pos="6267" userDrawn="1">
          <p15:clr>
            <a:srgbClr val="F26B43"/>
          </p15:clr>
        </p15:guide>
        <p15:guide id="22" pos="6720" userDrawn="1">
          <p15:clr>
            <a:srgbClr val="F26B43"/>
          </p15:clr>
        </p15:guide>
        <p15:guide id="23" pos="6856" userDrawn="1">
          <p15:clr>
            <a:srgbClr val="F26B43"/>
          </p15:clr>
        </p15:guide>
        <p15:guide id="24" pos="7310" userDrawn="1">
          <p15:clr>
            <a:srgbClr val="F26B43"/>
          </p15:clr>
        </p15:guide>
        <p15:guide id="25" orient="horz" pos="187" userDrawn="1">
          <p15:clr>
            <a:srgbClr val="F26B43"/>
          </p15:clr>
        </p15:guide>
        <p15:guide id="27" orient="horz" pos="595" userDrawn="1">
          <p15:clr>
            <a:srgbClr val="F26B43"/>
          </p15:clr>
        </p15:guide>
        <p15:guide id="28" orient="horz" pos="731" userDrawn="1">
          <p15:clr>
            <a:srgbClr val="F26B43"/>
          </p15:clr>
        </p15:guide>
        <p15:guide id="30" orient="horz" pos="864" userDrawn="1">
          <p15:clr>
            <a:srgbClr val="F26B43"/>
          </p15:clr>
        </p15:guide>
        <p15:guide id="31" orient="horz" pos="1003" userDrawn="1">
          <p15:clr>
            <a:srgbClr val="F26B43"/>
          </p15:clr>
        </p15:guide>
        <p15:guide id="32" orient="horz" pos="1139" userDrawn="1">
          <p15:clr>
            <a:srgbClr val="F26B43"/>
          </p15:clr>
        </p15:guide>
        <p15:guide id="34" orient="horz" pos="1275" userDrawn="1">
          <p15:clr>
            <a:srgbClr val="F26B43"/>
          </p15:clr>
        </p15:guide>
        <p15:guide id="35" orient="horz" pos="1412" userDrawn="1">
          <p15:clr>
            <a:srgbClr val="F26B43"/>
          </p15:clr>
        </p15:guide>
        <p15:guide id="37" orient="horz" pos="1548" userDrawn="1">
          <p15:clr>
            <a:srgbClr val="F26B43"/>
          </p15:clr>
        </p15:guide>
        <p15:guide id="39" orient="horz" pos="1820" userDrawn="1">
          <p15:clr>
            <a:srgbClr val="F26B43"/>
          </p15:clr>
        </p15:guide>
        <p15:guide id="40" orient="horz" pos="1956" userDrawn="1">
          <p15:clr>
            <a:srgbClr val="F26B43"/>
          </p15:clr>
        </p15:guide>
        <p15:guide id="42" orient="horz" pos="2092" userDrawn="1">
          <p15:clr>
            <a:srgbClr val="F26B43"/>
          </p15:clr>
        </p15:guide>
        <p15:guide id="43" orient="horz" pos="2228" userDrawn="1">
          <p15:clr>
            <a:srgbClr val="F26B43"/>
          </p15:clr>
        </p15:guide>
        <p15:guide id="44" orient="horz" pos="2364" userDrawn="1">
          <p15:clr>
            <a:srgbClr val="F26B43"/>
          </p15:clr>
        </p15:guide>
        <p15:guide id="46" orient="horz" pos="2500" userDrawn="1">
          <p15:clr>
            <a:srgbClr val="F26B43"/>
          </p15:clr>
        </p15:guide>
        <p15:guide id="48" orient="horz" pos="2636" userDrawn="1">
          <p15:clr>
            <a:srgbClr val="F26B43"/>
          </p15:clr>
        </p15:guide>
        <p15:guide id="49" orient="horz" pos="2772" userDrawn="1">
          <p15:clr>
            <a:srgbClr val="F26B43"/>
          </p15:clr>
        </p15:guide>
        <p15:guide id="50" orient="horz" pos="2908" userDrawn="1">
          <p15:clr>
            <a:srgbClr val="F26B43"/>
          </p15:clr>
        </p15:guide>
        <p15:guide id="51" orient="horz" pos="3317" userDrawn="1">
          <p15:clr>
            <a:srgbClr val="F26B43"/>
          </p15:clr>
        </p15:guide>
        <p15:guide id="52" orient="horz" pos="3045" userDrawn="1">
          <p15:clr>
            <a:srgbClr val="F26B43"/>
          </p15:clr>
        </p15:guide>
        <p15:guide id="53" orient="horz" pos="1684" userDrawn="1">
          <p15:clr>
            <a:srgbClr val="F26B43"/>
          </p15:clr>
        </p15:guide>
        <p15:guide id="55" orient="horz" pos="3181" userDrawn="1">
          <p15:clr>
            <a:srgbClr val="F26B43"/>
          </p15:clr>
        </p15:guide>
        <p15:guide id="56" orient="horz" pos="3453" userDrawn="1">
          <p15:clr>
            <a:srgbClr val="F26B43"/>
          </p15:clr>
        </p15:guide>
        <p15:guide id="57" orient="horz" pos="3589" userDrawn="1">
          <p15:clr>
            <a:srgbClr val="F26B43"/>
          </p15:clr>
        </p15:guide>
        <p15:guide id="58" orient="horz" pos="3725" userDrawn="1">
          <p15:clr>
            <a:srgbClr val="F26B43"/>
          </p15:clr>
        </p15:guide>
        <p15:guide id="59" orient="horz" pos="3861" userDrawn="1">
          <p15:clr>
            <a:srgbClr val="F26B43"/>
          </p15:clr>
        </p15:guide>
        <p15:guide id="60" orient="horz" pos="3997" userDrawn="1">
          <p15:clr>
            <a:srgbClr val="F26B43"/>
          </p15:clr>
        </p15:guide>
        <p15:guide id="61" orient="horz" pos="4133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29886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75" r:id="rId2"/>
    <p:sldLayoutId id="2147483860" r:id="rId3"/>
  </p:sldLayoutIdLst>
  <p:txStyles>
    <p:titleStyle>
      <a:lvl1pPr algn="l" defTabSz="1042690" rtl="0" eaLnBrk="1" latinLnBrk="0" hangingPunct="1">
        <a:lnSpc>
          <a:spcPct val="90000"/>
        </a:lnSpc>
        <a:spcBef>
          <a:spcPct val="0"/>
        </a:spcBef>
        <a:buNone/>
        <a:defRPr sz="501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0673" indent="-260673" algn="l" defTabSz="1042690" rtl="0" eaLnBrk="1" latinLnBrk="0" hangingPunct="1">
        <a:lnSpc>
          <a:spcPct val="90000"/>
        </a:lnSpc>
        <a:spcBef>
          <a:spcPts val="1140"/>
        </a:spcBef>
        <a:buFont typeface="Arial" panose="020B0604020202020204" pitchFamily="34" charset="0"/>
        <a:buChar char="•"/>
        <a:defRPr sz="3193" kern="1200">
          <a:solidFill>
            <a:schemeClr val="tx1"/>
          </a:solidFill>
          <a:latin typeface="+mn-lt"/>
          <a:ea typeface="+mn-ea"/>
          <a:cs typeface="+mn-cs"/>
        </a:defRPr>
      </a:lvl1pPr>
      <a:lvl2pPr marL="78201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737" kern="1200">
          <a:solidFill>
            <a:schemeClr val="tx1"/>
          </a:solidFill>
          <a:latin typeface="+mn-lt"/>
          <a:ea typeface="+mn-ea"/>
          <a:cs typeface="+mn-cs"/>
        </a:defRPr>
      </a:lvl2pPr>
      <a:lvl3pPr marL="1303363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281" kern="1200">
          <a:solidFill>
            <a:schemeClr val="tx1"/>
          </a:solidFill>
          <a:latin typeface="+mn-lt"/>
          <a:ea typeface="+mn-ea"/>
          <a:cs typeface="+mn-cs"/>
        </a:defRPr>
      </a:lvl3pPr>
      <a:lvl4pPr marL="182470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4pPr>
      <a:lvl5pPr marL="2346053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5pPr>
      <a:lvl6pPr marL="286739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6pPr>
      <a:lvl7pPr marL="3388744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7pPr>
      <a:lvl8pPr marL="3910089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8pPr>
      <a:lvl9pPr marL="4431434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1pPr>
      <a:lvl2pPr marL="521345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2pPr>
      <a:lvl3pPr marL="1042690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3pPr>
      <a:lvl4pPr marL="1564035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4pPr>
      <a:lvl5pPr marL="208538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5pPr>
      <a:lvl6pPr marL="2606726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6pPr>
      <a:lvl7pPr marL="312807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7pPr>
      <a:lvl8pPr marL="3649416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8pPr>
      <a:lvl9pPr marL="417076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2386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7" r:id="rId2"/>
    <p:sldLayoutId id="2147483739" r:id="rId3"/>
    <p:sldLayoutId id="2147483740" r:id="rId4"/>
    <p:sldLayoutId id="2147483741" r:id="rId5"/>
  </p:sldLayoutIdLst>
  <p:txStyles>
    <p:titleStyle>
      <a:lvl1pPr algn="l" defTabSz="1042690" rtl="0" eaLnBrk="1" latinLnBrk="0" hangingPunct="1">
        <a:lnSpc>
          <a:spcPct val="90000"/>
        </a:lnSpc>
        <a:spcBef>
          <a:spcPct val="0"/>
        </a:spcBef>
        <a:buNone/>
        <a:defRPr sz="501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0673" indent="-260673" algn="l" defTabSz="1042690" rtl="0" eaLnBrk="1" latinLnBrk="0" hangingPunct="1">
        <a:lnSpc>
          <a:spcPct val="90000"/>
        </a:lnSpc>
        <a:spcBef>
          <a:spcPts val="1140"/>
        </a:spcBef>
        <a:buFont typeface="Arial" panose="020B0604020202020204" pitchFamily="34" charset="0"/>
        <a:buChar char="•"/>
        <a:defRPr sz="3193" kern="1200">
          <a:solidFill>
            <a:schemeClr val="tx1"/>
          </a:solidFill>
          <a:latin typeface="+mn-lt"/>
          <a:ea typeface="+mn-ea"/>
          <a:cs typeface="+mn-cs"/>
        </a:defRPr>
      </a:lvl1pPr>
      <a:lvl2pPr marL="78201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737" kern="1200">
          <a:solidFill>
            <a:schemeClr val="tx1"/>
          </a:solidFill>
          <a:latin typeface="+mn-lt"/>
          <a:ea typeface="+mn-ea"/>
          <a:cs typeface="+mn-cs"/>
        </a:defRPr>
      </a:lvl2pPr>
      <a:lvl3pPr marL="1303363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281" kern="1200">
          <a:solidFill>
            <a:schemeClr val="tx1"/>
          </a:solidFill>
          <a:latin typeface="+mn-lt"/>
          <a:ea typeface="+mn-ea"/>
          <a:cs typeface="+mn-cs"/>
        </a:defRPr>
      </a:lvl3pPr>
      <a:lvl4pPr marL="182470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4pPr>
      <a:lvl5pPr marL="2346053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5pPr>
      <a:lvl6pPr marL="286739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6pPr>
      <a:lvl7pPr marL="3388744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7pPr>
      <a:lvl8pPr marL="3910089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8pPr>
      <a:lvl9pPr marL="4431434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1pPr>
      <a:lvl2pPr marL="521345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2pPr>
      <a:lvl3pPr marL="1042690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3pPr>
      <a:lvl4pPr marL="1564035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4pPr>
      <a:lvl5pPr marL="208538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5pPr>
      <a:lvl6pPr marL="2606726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6pPr>
      <a:lvl7pPr marL="312807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7pPr>
      <a:lvl8pPr marL="3649416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8pPr>
      <a:lvl9pPr marL="417076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70" userDrawn="1">
          <p15:clr>
            <a:srgbClr val="F26B43"/>
          </p15:clr>
        </p15:guide>
        <p15:guide id="2" pos="824" userDrawn="1">
          <p15:clr>
            <a:srgbClr val="F26B43"/>
          </p15:clr>
        </p15:guide>
        <p15:guide id="3" pos="960" userDrawn="1">
          <p15:clr>
            <a:srgbClr val="F26B43"/>
          </p15:clr>
        </p15:guide>
        <p15:guide id="4" pos="1413" userDrawn="1">
          <p15:clr>
            <a:srgbClr val="F26B43"/>
          </p15:clr>
        </p15:guide>
        <p15:guide id="5" pos="1549" userDrawn="1">
          <p15:clr>
            <a:srgbClr val="F26B43"/>
          </p15:clr>
        </p15:guide>
        <p15:guide id="6" pos="2003" userDrawn="1">
          <p15:clr>
            <a:srgbClr val="F26B43"/>
          </p15:clr>
        </p15:guide>
        <p15:guide id="7" pos="2139" userDrawn="1">
          <p15:clr>
            <a:srgbClr val="F26B43"/>
          </p15:clr>
        </p15:guide>
        <p15:guide id="8" pos="2593" userDrawn="1">
          <p15:clr>
            <a:srgbClr val="F26B43"/>
          </p15:clr>
        </p15:guide>
        <p15:guide id="9" pos="2729" userDrawn="1">
          <p15:clr>
            <a:srgbClr val="F26B43"/>
          </p15:clr>
        </p15:guide>
        <p15:guide id="10" pos="3182" userDrawn="1">
          <p15:clr>
            <a:srgbClr val="F26B43"/>
          </p15:clr>
        </p15:guide>
        <p15:guide id="11" pos="3318" userDrawn="1">
          <p15:clr>
            <a:srgbClr val="F26B43"/>
          </p15:clr>
        </p15:guide>
        <p15:guide id="12" pos="3772" userDrawn="1">
          <p15:clr>
            <a:srgbClr val="F26B43"/>
          </p15:clr>
        </p15:guide>
        <p15:guide id="13" pos="3908" userDrawn="1">
          <p15:clr>
            <a:srgbClr val="F26B43"/>
          </p15:clr>
        </p15:guide>
        <p15:guide id="14" pos="4362" userDrawn="1">
          <p15:clr>
            <a:srgbClr val="F26B43"/>
          </p15:clr>
        </p15:guide>
        <p15:guide id="15" pos="4498" userDrawn="1">
          <p15:clr>
            <a:srgbClr val="F26B43"/>
          </p15:clr>
        </p15:guide>
        <p15:guide id="16" pos="4952" userDrawn="1">
          <p15:clr>
            <a:srgbClr val="F26B43"/>
          </p15:clr>
        </p15:guide>
        <p15:guide id="17" pos="5087" userDrawn="1">
          <p15:clr>
            <a:srgbClr val="F26B43"/>
          </p15:clr>
        </p15:guide>
        <p15:guide id="18" pos="5541" userDrawn="1">
          <p15:clr>
            <a:srgbClr val="F26B43"/>
          </p15:clr>
        </p15:guide>
        <p15:guide id="19" pos="5676" userDrawn="1">
          <p15:clr>
            <a:srgbClr val="F26B43"/>
          </p15:clr>
        </p15:guide>
        <p15:guide id="20" pos="6131" userDrawn="1">
          <p15:clr>
            <a:srgbClr val="F26B43"/>
          </p15:clr>
        </p15:guide>
        <p15:guide id="21" pos="6267" userDrawn="1">
          <p15:clr>
            <a:srgbClr val="F26B43"/>
          </p15:clr>
        </p15:guide>
        <p15:guide id="22" pos="6720" userDrawn="1">
          <p15:clr>
            <a:srgbClr val="F26B43"/>
          </p15:clr>
        </p15:guide>
        <p15:guide id="23" pos="6856" userDrawn="1">
          <p15:clr>
            <a:srgbClr val="F26B43"/>
          </p15:clr>
        </p15:guide>
        <p15:guide id="24" pos="7310" userDrawn="1">
          <p15:clr>
            <a:srgbClr val="F26B43"/>
          </p15:clr>
        </p15:guide>
        <p15:guide id="25" orient="horz" pos="187" userDrawn="1">
          <p15:clr>
            <a:srgbClr val="F26B43"/>
          </p15:clr>
        </p15:guide>
        <p15:guide id="30" orient="horz" pos="864" userDrawn="1">
          <p15:clr>
            <a:srgbClr val="F26B43"/>
          </p15:clr>
        </p15:guide>
        <p15:guide id="33" orient="horz" pos="1003" userDrawn="1">
          <p15:clr>
            <a:srgbClr val="F26B43"/>
          </p15:clr>
        </p15:guide>
        <p15:guide id="34" orient="horz" pos="1275" userDrawn="1">
          <p15:clr>
            <a:srgbClr val="F26B43"/>
          </p15:clr>
        </p15:guide>
        <p15:guide id="36" orient="horz" pos="595" userDrawn="1">
          <p15:clr>
            <a:srgbClr val="F26B43"/>
          </p15:clr>
        </p15:guide>
        <p15:guide id="37" orient="horz" pos="731" userDrawn="1">
          <p15:clr>
            <a:srgbClr val="F26B43"/>
          </p15:clr>
        </p15:guide>
        <p15:guide id="38" orient="horz" pos="1684" userDrawn="1">
          <p15:clr>
            <a:srgbClr val="F26B43"/>
          </p15:clr>
        </p15:guide>
        <p15:guide id="39" orient="horz" pos="1412" userDrawn="1">
          <p15:clr>
            <a:srgbClr val="F26B43"/>
          </p15:clr>
        </p15:guide>
        <p15:guide id="40" orient="horz" pos="1548" userDrawn="1">
          <p15:clr>
            <a:srgbClr val="F26B43"/>
          </p15:clr>
        </p15:guide>
        <p15:guide id="41" orient="horz" pos="1139" userDrawn="1">
          <p15:clr>
            <a:srgbClr val="F26B43"/>
          </p15:clr>
        </p15:guide>
        <p15:guide id="42" orient="horz" pos="2092" userDrawn="1">
          <p15:clr>
            <a:srgbClr val="F26B43"/>
          </p15:clr>
        </p15:guide>
        <p15:guide id="43" orient="horz" pos="1820" userDrawn="1">
          <p15:clr>
            <a:srgbClr val="F26B43"/>
          </p15:clr>
        </p15:guide>
        <p15:guide id="44" orient="horz" pos="2364" userDrawn="1">
          <p15:clr>
            <a:srgbClr val="F26B43"/>
          </p15:clr>
        </p15:guide>
        <p15:guide id="45" orient="horz" pos="1956" userDrawn="1">
          <p15:clr>
            <a:srgbClr val="F26B43"/>
          </p15:clr>
        </p15:guide>
        <p15:guide id="46" orient="horz" pos="2500" userDrawn="1">
          <p15:clr>
            <a:srgbClr val="F26B43"/>
          </p15:clr>
        </p15:guide>
        <p15:guide id="47" orient="horz" pos="2228" userDrawn="1">
          <p15:clr>
            <a:srgbClr val="F26B43"/>
          </p15:clr>
        </p15:guide>
        <p15:guide id="48" orient="horz" pos="2636" userDrawn="1">
          <p15:clr>
            <a:srgbClr val="F26B43"/>
          </p15:clr>
        </p15:guide>
        <p15:guide id="49" orient="horz" pos="2772" userDrawn="1">
          <p15:clr>
            <a:srgbClr val="F26B43"/>
          </p15:clr>
        </p15:guide>
        <p15:guide id="50" orient="horz" pos="2908" userDrawn="1">
          <p15:clr>
            <a:srgbClr val="F26B43"/>
          </p15:clr>
        </p15:guide>
        <p15:guide id="51" orient="horz" pos="3045" userDrawn="1">
          <p15:clr>
            <a:srgbClr val="F26B43"/>
          </p15:clr>
        </p15:guide>
        <p15:guide id="52" orient="horz" pos="3181" userDrawn="1">
          <p15:clr>
            <a:srgbClr val="F26B43"/>
          </p15:clr>
        </p15:guide>
        <p15:guide id="53" orient="horz" pos="3317" userDrawn="1">
          <p15:clr>
            <a:srgbClr val="F26B43"/>
          </p15:clr>
        </p15:guide>
        <p15:guide id="55" orient="horz" pos="3453" userDrawn="1">
          <p15:clr>
            <a:srgbClr val="F26B43"/>
          </p15:clr>
        </p15:guide>
        <p15:guide id="57" orient="horz" pos="3589" userDrawn="1">
          <p15:clr>
            <a:srgbClr val="F26B43"/>
          </p15:clr>
        </p15:guide>
        <p15:guide id="58" orient="horz" pos="3725" userDrawn="1">
          <p15:clr>
            <a:srgbClr val="F26B43"/>
          </p15:clr>
        </p15:guide>
        <p15:guide id="59" orient="horz" pos="3861" userDrawn="1">
          <p15:clr>
            <a:srgbClr val="F26B43"/>
          </p15:clr>
        </p15:guide>
        <p15:guide id="60" orient="horz" pos="3997" userDrawn="1">
          <p15:clr>
            <a:srgbClr val="F26B43"/>
          </p15:clr>
        </p15:guide>
        <p15:guide id="61" orient="horz" pos="4133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ABB6BBE5-76A3-F388-AB14-BB234995751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394893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6" r:id="rId1"/>
    <p:sldLayoutId id="2147483867" r:id="rId2"/>
    <p:sldLayoutId id="2147483872" r:id="rId3"/>
    <p:sldLayoutId id="2147483868" r:id="rId4"/>
    <p:sldLayoutId id="2147483869" r:id="rId5"/>
    <p:sldLayoutId id="2147483870" r:id="rId6"/>
    <p:sldLayoutId id="2147483871" r:id="rId7"/>
  </p:sldLayoutIdLst>
  <p:txStyles>
    <p:titleStyle>
      <a:lvl1pPr algn="l" defTabSz="1042690" rtl="0" eaLnBrk="1" latinLnBrk="0" hangingPunct="1">
        <a:lnSpc>
          <a:spcPct val="90000"/>
        </a:lnSpc>
        <a:spcBef>
          <a:spcPct val="0"/>
        </a:spcBef>
        <a:buNone/>
        <a:defRPr sz="501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0673" indent="-260673" algn="l" defTabSz="1042690" rtl="0" eaLnBrk="1" latinLnBrk="0" hangingPunct="1">
        <a:lnSpc>
          <a:spcPct val="90000"/>
        </a:lnSpc>
        <a:spcBef>
          <a:spcPts val="1140"/>
        </a:spcBef>
        <a:buFont typeface="Arial" panose="020B0604020202020204" pitchFamily="34" charset="0"/>
        <a:buChar char="•"/>
        <a:defRPr sz="3193" kern="1200">
          <a:solidFill>
            <a:schemeClr val="tx1"/>
          </a:solidFill>
          <a:latin typeface="+mn-lt"/>
          <a:ea typeface="+mn-ea"/>
          <a:cs typeface="+mn-cs"/>
        </a:defRPr>
      </a:lvl1pPr>
      <a:lvl2pPr marL="78201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737" kern="1200">
          <a:solidFill>
            <a:schemeClr val="tx1"/>
          </a:solidFill>
          <a:latin typeface="+mn-lt"/>
          <a:ea typeface="+mn-ea"/>
          <a:cs typeface="+mn-cs"/>
        </a:defRPr>
      </a:lvl2pPr>
      <a:lvl3pPr marL="1303363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281" kern="1200">
          <a:solidFill>
            <a:schemeClr val="tx1"/>
          </a:solidFill>
          <a:latin typeface="+mn-lt"/>
          <a:ea typeface="+mn-ea"/>
          <a:cs typeface="+mn-cs"/>
        </a:defRPr>
      </a:lvl3pPr>
      <a:lvl4pPr marL="182470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4pPr>
      <a:lvl5pPr marL="2346053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5pPr>
      <a:lvl6pPr marL="286739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6pPr>
      <a:lvl7pPr marL="3388744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7pPr>
      <a:lvl8pPr marL="3910089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8pPr>
      <a:lvl9pPr marL="4431434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1pPr>
      <a:lvl2pPr marL="521345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2pPr>
      <a:lvl3pPr marL="1042690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3pPr>
      <a:lvl4pPr marL="1564035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4pPr>
      <a:lvl5pPr marL="208538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5pPr>
      <a:lvl6pPr marL="2606726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6pPr>
      <a:lvl7pPr marL="312807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7pPr>
      <a:lvl8pPr marL="3649416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8pPr>
      <a:lvl9pPr marL="417076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70" userDrawn="1">
          <p15:clr>
            <a:srgbClr val="F26B43"/>
          </p15:clr>
        </p15:guide>
        <p15:guide id="2" pos="824" userDrawn="1">
          <p15:clr>
            <a:srgbClr val="F26B43"/>
          </p15:clr>
        </p15:guide>
        <p15:guide id="3" pos="960" userDrawn="1">
          <p15:clr>
            <a:srgbClr val="F26B43"/>
          </p15:clr>
        </p15:guide>
        <p15:guide id="4" pos="1413" userDrawn="1">
          <p15:clr>
            <a:srgbClr val="F26B43"/>
          </p15:clr>
        </p15:guide>
        <p15:guide id="5" pos="1549" userDrawn="1">
          <p15:clr>
            <a:srgbClr val="F26B43"/>
          </p15:clr>
        </p15:guide>
        <p15:guide id="6" pos="2003" userDrawn="1">
          <p15:clr>
            <a:srgbClr val="F26B43"/>
          </p15:clr>
        </p15:guide>
        <p15:guide id="7" pos="2139" userDrawn="1">
          <p15:clr>
            <a:srgbClr val="F26B43"/>
          </p15:clr>
        </p15:guide>
        <p15:guide id="8" pos="2593" userDrawn="1">
          <p15:clr>
            <a:srgbClr val="F26B43"/>
          </p15:clr>
        </p15:guide>
        <p15:guide id="9" pos="2729" userDrawn="1">
          <p15:clr>
            <a:srgbClr val="F26B43"/>
          </p15:clr>
        </p15:guide>
        <p15:guide id="10" pos="3182" userDrawn="1">
          <p15:clr>
            <a:srgbClr val="F26B43"/>
          </p15:clr>
        </p15:guide>
        <p15:guide id="11" pos="3318" userDrawn="1">
          <p15:clr>
            <a:srgbClr val="F26B43"/>
          </p15:clr>
        </p15:guide>
        <p15:guide id="12" pos="3772" userDrawn="1">
          <p15:clr>
            <a:srgbClr val="F26B43"/>
          </p15:clr>
        </p15:guide>
        <p15:guide id="13" pos="3908" userDrawn="1">
          <p15:clr>
            <a:srgbClr val="F26B43"/>
          </p15:clr>
        </p15:guide>
        <p15:guide id="14" pos="4362" userDrawn="1">
          <p15:clr>
            <a:srgbClr val="F26B43"/>
          </p15:clr>
        </p15:guide>
        <p15:guide id="15" pos="4498" userDrawn="1">
          <p15:clr>
            <a:srgbClr val="F26B43"/>
          </p15:clr>
        </p15:guide>
        <p15:guide id="16" pos="4952" userDrawn="1">
          <p15:clr>
            <a:srgbClr val="F26B43"/>
          </p15:clr>
        </p15:guide>
        <p15:guide id="17" pos="5087" userDrawn="1">
          <p15:clr>
            <a:srgbClr val="F26B43"/>
          </p15:clr>
        </p15:guide>
        <p15:guide id="18" pos="5541" userDrawn="1">
          <p15:clr>
            <a:srgbClr val="F26B43"/>
          </p15:clr>
        </p15:guide>
        <p15:guide id="19" pos="5676" userDrawn="1">
          <p15:clr>
            <a:srgbClr val="F26B43"/>
          </p15:clr>
        </p15:guide>
        <p15:guide id="20" pos="6131" userDrawn="1">
          <p15:clr>
            <a:srgbClr val="F26B43"/>
          </p15:clr>
        </p15:guide>
        <p15:guide id="21" pos="6267" userDrawn="1">
          <p15:clr>
            <a:srgbClr val="F26B43"/>
          </p15:clr>
        </p15:guide>
        <p15:guide id="22" pos="6720" userDrawn="1">
          <p15:clr>
            <a:srgbClr val="F26B43"/>
          </p15:clr>
        </p15:guide>
        <p15:guide id="23" pos="6856" userDrawn="1">
          <p15:clr>
            <a:srgbClr val="F26B43"/>
          </p15:clr>
        </p15:guide>
        <p15:guide id="24" pos="7310" userDrawn="1">
          <p15:clr>
            <a:srgbClr val="F26B43"/>
          </p15:clr>
        </p15:guide>
        <p15:guide id="25" orient="horz" pos="187" userDrawn="1">
          <p15:clr>
            <a:srgbClr val="F26B43"/>
          </p15:clr>
        </p15:guide>
        <p15:guide id="30" orient="horz" pos="864" userDrawn="1">
          <p15:clr>
            <a:srgbClr val="F26B43"/>
          </p15:clr>
        </p15:guide>
        <p15:guide id="33" orient="horz" pos="1003" userDrawn="1">
          <p15:clr>
            <a:srgbClr val="F26B43"/>
          </p15:clr>
        </p15:guide>
        <p15:guide id="34" orient="horz" pos="1275" userDrawn="1">
          <p15:clr>
            <a:srgbClr val="F26B43"/>
          </p15:clr>
        </p15:guide>
        <p15:guide id="36" orient="horz" pos="595" userDrawn="1">
          <p15:clr>
            <a:srgbClr val="F26B43"/>
          </p15:clr>
        </p15:guide>
        <p15:guide id="37" orient="horz" pos="731" userDrawn="1">
          <p15:clr>
            <a:srgbClr val="F26B43"/>
          </p15:clr>
        </p15:guide>
        <p15:guide id="38" orient="horz" pos="1684" userDrawn="1">
          <p15:clr>
            <a:srgbClr val="F26B43"/>
          </p15:clr>
        </p15:guide>
        <p15:guide id="39" orient="horz" pos="1412" userDrawn="1">
          <p15:clr>
            <a:srgbClr val="F26B43"/>
          </p15:clr>
        </p15:guide>
        <p15:guide id="40" orient="horz" pos="1548" userDrawn="1">
          <p15:clr>
            <a:srgbClr val="F26B43"/>
          </p15:clr>
        </p15:guide>
        <p15:guide id="41" orient="horz" pos="1139" userDrawn="1">
          <p15:clr>
            <a:srgbClr val="F26B43"/>
          </p15:clr>
        </p15:guide>
        <p15:guide id="42" orient="horz" pos="2092" userDrawn="1">
          <p15:clr>
            <a:srgbClr val="F26B43"/>
          </p15:clr>
        </p15:guide>
        <p15:guide id="43" orient="horz" pos="1820" userDrawn="1">
          <p15:clr>
            <a:srgbClr val="F26B43"/>
          </p15:clr>
        </p15:guide>
        <p15:guide id="44" orient="horz" pos="2364" userDrawn="1">
          <p15:clr>
            <a:srgbClr val="F26B43"/>
          </p15:clr>
        </p15:guide>
        <p15:guide id="45" orient="horz" pos="1956" userDrawn="1">
          <p15:clr>
            <a:srgbClr val="F26B43"/>
          </p15:clr>
        </p15:guide>
        <p15:guide id="46" orient="horz" pos="2500" userDrawn="1">
          <p15:clr>
            <a:srgbClr val="F26B43"/>
          </p15:clr>
        </p15:guide>
        <p15:guide id="47" orient="horz" pos="2228" userDrawn="1">
          <p15:clr>
            <a:srgbClr val="F26B43"/>
          </p15:clr>
        </p15:guide>
        <p15:guide id="48" orient="horz" pos="2636" userDrawn="1">
          <p15:clr>
            <a:srgbClr val="F26B43"/>
          </p15:clr>
        </p15:guide>
        <p15:guide id="49" orient="horz" pos="2772" userDrawn="1">
          <p15:clr>
            <a:srgbClr val="F26B43"/>
          </p15:clr>
        </p15:guide>
        <p15:guide id="50" orient="horz" pos="2908" userDrawn="1">
          <p15:clr>
            <a:srgbClr val="F26B43"/>
          </p15:clr>
        </p15:guide>
        <p15:guide id="51" orient="horz" pos="3045" userDrawn="1">
          <p15:clr>
            <a:srgbClr val="F26B43"/>
          </p15:clr>
        </p15:guide>
        <p15:guide id="52" orient="horz" pos="3181" userDrawn="1">
          <p15:clr>
            <a:srgbClr val="F26B43"/>
          </p15:clr>
        </p15:guide>
        <p15:guide id="53" orient="horz" pos="3317" userDrawn="1">
          <p15:clr>
            <a:srgbClr val="F26B43"/>
          </p15:clr>
        </p15:guide>
        <p15:guide id="55" orient="horz" pos="3453" userDrawn="1">
          <p15:clr>
            <a:srgbClr val="F26B43"/>
          </p15:clr>
        </p15:guide>
        <p15:guide id="57" orient="horz" pos="3589" userDrawn="1">
          <p15:clr>
            <a:srgbClr val="F26B43"/>
          </p15:clr>
        </p15:guide>
        <p15:guide id="58" orient="horz" pos="3725" userDrawn="1">
          <p15:clr>
            <a:srgbClr val="F26B43"/>
          </p15:clr>
        </p15:guide>
        <p15:guide id="59" orient="horz" pos="3861" userDrawn="1">
          <p15:clr>
            <a:srgbClr val="F26B43"/>
          </p15:clr>
        </p15:guide>
        <p15:guide id="60" orient="horz" pos="3997" userDrawn="1">
          <p15:clr>
            <a:srgbClr val="F26B43"/>
          </p15:clr>
        </p15:guide>
        <p15:guide id="61" orient="horz" pos="4133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1">
            <a:extLst>
              <a:ext uri="{FF2B5EF4-FFF2-40B4-BE49-F238E27FC236}">
                <a16:creationId xmlns:a16="http://schemas.microsoft.com/office/drawing/2014/main" id="{6F46B38B-F396-1046-A6EF-5FCCA0D99DFC}"/>
              </a:ext>
            </a:extLst>
          </p:cNvPr>
          <p:cNvSpPr txBox="1">
            <a:spLocks/>
          </p:cNvSpPr>
          <p:nvPr userDrawn="1"/>
        </p:nvSpPr>
        <p:spPr>
          <a:xfrm>
            <a:off x="11158634" y="6382413"/>
            <a:ext cx="460059" cy="21495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D9737D-88D3-4F40-A281-A12720D62BD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cs typeface="Arial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pic>
        <p:nvPicPr>
          <p:cNvPr id="9" name="Picture 18">
            <a:extLst>
              <a:ext uri="{FF2B5EF4-FFF2-40B4-BE49-F238E27FC236}">
                <a16:creationId xmlns:a16="http://schemas.microsoft.com/office/drawing/2014/main" id="{C7ECA0F0-E22C-9CEA-A295-E16F00554645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rcRect/>
          <a:stretch/>
        </p:blipFill>
        <p:spPr>
          <a:xfrm>
            <a:off x="9472339" y="301220"/>
            <a:ext cx="2156949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3650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700" r:id="rId2"/>
    <p:sldLayoutId id="2147483861" r:id="rId3"/>
    <p:sldLayoutId id="2147483691" r:id="rId4"/>
    <p:sldLayoutId id="2147483695" r:id="rId5"/>
    <p:sldLayoutId id="2147483694" r:id="rId6"/>
    <p:sldLayoutId id="2147483686" r:id="rId7"/>
    <p:sldLayoutId id="2147483692" r:id="rId8"/>
    <p:sldLayoutId id="2147483696" r:id="rId9"/>
    <p:sldLayoutId id="2147483698" r:id="rId10"/>
    <p:sldLayoutId id="2147483697" r:id="rId11"/>
    <p:sldLayoutId id="2147483693" r:id="rId12"/>
  </p:sldLayoutIdLst>
  <p:txStyles>
    <p:titleStyle>
      <a:lvl1pPr algn="l" defTabSz="1042690" rtl="0" eaLnBrk="1" latinLnBrk="0" hangingPunct="1">
        <a:lnSpc>
          <a:spcPct val="90000"/>
        </a:lnSpc>
        <a:spcBef>
          <a:spcPct val="0"/>
        </a:spcBef>
        <a:buNone/>
        <a:defRPr sz="501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0673" indent="-260673" algn="l" defTabSz="1042690" rtl="0" eaLnBrk="1" latinLnBrk="0" hangingPunct="1">
        <a:lnSpc>
          <a:spcPct val="90000"/>
        </a:lnSpc>
        <a:spcBef>
          <a:spcPts val="1140"/>
        </a:spcBef>
        <a:buFont typeface="Arial" panose="020B0604020202020204" pitchFamily="34" charset="0"/>
        <a:buChar char="•"/>
        <a:defRPr sz="3193" kern="1200">
          <a:solidFill>
            <a:schemeClr val="tx1"/>
          </a:solidFill>
          <a:latin typeface="+mn-lt"/>
          <a:ea typeface="+mn-ea"/>
          <a:cs typeface="+mn-cs"/>
        </a:defRPr>
      </a:lvl1pPr>
      <a:lvl2pPr marL="78201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737" kern="1200">
          <a:solidFill>
            <a:schemeClr val="tx1"/>
          </a:solidFill>
          <a:latin typeface="+mn-lt"/>
          <a:ea typeface="+mn-ea"/>
          <a:cs typeface="+mn-cs"/>
        </a:defRPr>
      </a:lvl2pPr>
      <a:lvl3pPr marL="1303363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281" kern="1200">
          <a:solidFill>
            <a:schemeClr val="tx1"/>
          </a:solidFill>
          <a:latin typeface="+mn-lt"/>
          <a:ea typeface="+mn-ea"/>
          <a:cs typeface="+mn-cs"/>
        </a:defRPr>
      </a:lvl3pPr>
      <a:lvl4pPr marL="182470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4pPr>
      <a:lvl5pPr marL="2346053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5pPr>
      <a:lvl6pPr marL="286739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6pPr>
      <a:lvl7pPr marL="3388744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7pPr>
      <a:lvl8pPr marL="3910089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8pPr>
      <a:lvl9pPr marL="4431434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1pPr>
      <a:lvl2pPr marL="521345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2pPr>
      <a:lvl3pPr marL="1042690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3pPr>
      <a:lvl4pPr marL="1564035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4pPr>
      <a:lvl5pPr marL="208538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5pPr>
      <a:lvl6pPr marL="2606726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6pPr>
      <a:lvl7pPr marL="312807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7pPr>
      <a:lvl8pPr marL="3649416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8pPr>
      <a:lvl9pPr marL="417076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70" userDrawn="1">
          <p15:clr>
            <a:srgbClr val="F26B43"/>
          </p15:clr>
        </p15:guide>
        <p15:guide id="2" pos="824" userDrawn="1">
          <p15:clr>
            <a:srgbClr val="F26B43"/>
          </p15:clr>
        </p15:guide>
        <p15:guide id="3" pos="960" userDrawn="1">
          <p15:clr>
            <a:srgbClr val="F26B43"/>
          </p15:clr>
        </p15:guide>
        <p15:guide id="4" pos="1413" userDrawn="1">
          <p15:clr>
            <a:srgbClr val="F26B43"/>
          </p15:clr>
        </p15:guide>
        <p15:guide id="5" pos="1549" userDrawn="1">
          <p15:clr>
            <a:srgbClr val="F26B43"/>
          </p15:clr>
        </p15:guide>
        <p15:guide id="6" pos="2003" userDrawn="1">
          <p15:clr>
            <a:srgbClr val="F26B43"/>
          </p15:clr>
        </p15:guide>
        <p15:guide id="7" pos="2139" userDrawn="1">
          <p15:clr>
            <a:srgbClr val="F26B43"/>
          </p15:clr>
        </p15:guide>
        <p15:guide id="8" pos="2593" userDrawn="1">
          <p15:clr>
            <a:srgbClr val="F26B43"/>
          </p15:clr>
        </p15:guide>
        <p15:guide id="9" pos="2729" userDrawn="1">
          <p15:clr>
            <a:srgbClr val="F26B43"/>
          </p15:clr>
        </p15:guide>
        <p15:guide id="10" pos="3182" userDrawn="1">
          <p15:clr>
            <a:srgbClr val="F26B43"/>
          </p15:clr>
        </p15:guide>
        <p15:guide id="11" pos="3318" userDrawn="1">
          <p15:clr>
            <a:srgbClr val="F26B43"/>
          </p15:clr>
        </p15:guide>
        <p15:guide id="12" pos="3772" userDrawn="1">
          <p15:clr>
            <a:srgbClr val="F26B43"/>
          </p15:clr>
        </p15:guide>
        <p15:guide id="13" pos="3908" userDrawn="1">
          <p15:clr>
            <a:srgbClr val="F26B43"/>
          </p15:clr>
        </p15:guide>
        <p15:guide id="14" pos="4362" userDrawn="1">
          <p15:clr>
            <a:srgbClr val="F26B43"/>
          </p15:clr>
        </p15:guide>
        <p15:guide id="15" pos="4498" userDrawn="1">
          <p15:clr>
            <a:srgbClr val="F26B43"/>
          </p15:clr>
        </p15:guide>
        <p15:guide id="16" pos="4952" userDrawn="1">
          <p15:clr>
            <a:srgbClr val="F26B43"/>
          </p15:clr>
        </p15:guide>
        <p15:guide id="17" pos="5087" userDrawn="1">
          <p15:clr>
            <a:srgbClr val="F26B43"/>
          </p15:clr>
        </p15:guide>
        <p15:guide id="18" pos="5541" userDrawn="1">
          <p15:clr>
            <a:srgbClr val="F26B43"/>
          </p15:clr>
        </p15:guide>
        <p15:guide id="19" pos="5676" userDrawn="1">
          <p15:clr>
            <a:srgbClr val="F26B43"/>
          </p15:clr>
        </p15:guide>
        <p15:guide id="20" pos="6131" userDrawn="1">
          <p15:clr>
            <a:srgbClr val="F26B43"/>
          </p15:clr>
        </p15:guide>
        <p15:guide id="21" pos="6267" userDrawn="1">
          <p15:clr>
            <a:srgbClr val="F26B43"/>
          </p15:clr>
        </p15:guide>
        <p15:guide id="22" pos="6720" userDrawn="1">
          <p15:clr>
            <a:srgbClr val="F26B43"/>
          </p15:clr>
        </p15:guide>
        <p15:guide id="23" pos="6856" userDrawn="1">
          <p15:clr>
            <a:srgbClr val="F26B43"/>
          </p15:clr>
        </p15:guide>
        <p15:guide id="24" pos="7310" userDrawn="1">
          <p15:clr>
            <a:srgbClr val="F26B43"/>
          </p15:clr>
        </p15:guide>
        <p15:guide id="25" orient="horz" pos="187" userDrawn="1">
          <p15:clr>
            <a:srgbClr val="F26B43"/>
          </p15:clr>
        </p15:guide>
        <p15:guide id="30" orient="horz" pos="864" userDrawn="1">
          <p15:clr>
            <a:srgbClr val="F26B43"/>
          </p15:clr>
        </p15:guide>
        <p15:guide id="33" orient="horz" pos="1003" userDrawn="1">
          <p15:clr>
            <a:srgbClr val="F26B43"/>
          </p15:clr>
        </p15:guide>
        <p15:guide id="34" orient="horz" pos="1275" userDrawn="1">
          <p15:clr>
            <a:srgbClr val="F26B43"/>
          </p15:clr>
        </p15:guide>
        <p15:guide id="36" orient="horz" pos="595" userDrawn="1">
          <p15:clr>
            <a:srgbClr val="F26B43"/>
          </p15:clr>
        </p15:guide>
        <p15:guide id="37" orient="horz" pos="731" userDrawn="1">
          <p15:clr>
            <a:srgbClr val="F26B43"/>
          </p15:clr>
        </p15:guide>
        <p15:guide id="38" orient="horz" pos="1684" userDrawn="1">
          <p15:clr>
            <a:srgbClr val="F26B43"/>
          </p15:clr>
        </p15:guide>
        <p15:guide id="39" orient="horz" pos="1412" userDrawn="1">
          <p15:clr>
            <a:srgbClr val="F26B43"/>
          </p15:clr>
        </p15:guide>
        <p15:guide id="40" orient="horz" pos="1548" userDrawn="1">
          <p15:clr>
            <a:srgbClr val="F26B43"/>
          </p15:clr>
        </p15:guide>
        <p15:guide id="41" orient="horz" pos="1139" userDrawn="1">
          <p15:clr>
            <a:srgbClr val="F26B43"/>
          </p15:clr>
        </p15:guide>
        <p15:guide id="42" orient="horz" pos="2092" userDrawn="1">
          <p15:clr>
            <a:srgbClr val="F26B43"/>
          </p15:clr>
        </p15:guide>
        <p15:guide id="43" orient="horz" pos="1820" userDrawn="1">
          <p15:clr>
            <a:srgbClr val="F26B43"/>
          </p15:clr>
        </p15:guide>
        <p15:guide id="44" orient="horz" pos="2364" userDrawn="1">
          <p15:clr>
            <a:srgbClr val="F26B43"/>
          </p15:clr>
        </p15:guide>
        <p15:guide id="45" orient="horz" pos="1956" userDrawn="1">
          <p15:clr>
            <a:srgbClr val="F26B43"/>
          </p15:clr>
        </p15:guide>
        <p15:guide id="46" orient="horz" pos="2500" userDrawn="1">
          <p15:clr>
            <a:srgbClr val="F26B43"/>
          </p15:clr>
        </p15:guide>
        <p15:guide id="47" orient="horz" pos="2228" userDrawn="1">
          <p15:clr>
            <a:srgbClr val="F26B43"/>
          </p15:clr>
        </p15:guide>
        <p15:guide id="48" orient="horz" pos="2636" userDrawn="1">
          <p15:clr>
            <a:srgbClr val="F26B43"/>
          </p15:clr>
        </p15:guide>
        <p15:guide id="49" orient="horz" pos="2772" userDrawn="1">
          <p15:clr>
            <a:srgbClr val="F26B43"/>
          </p15:clr>
        </p15:guide>
        <p15:guide id="50" orient="horz" pos="2908" userDrawn="1">
          <p15:clr>
            <a:srgbClr val="F26B43"/>
          </p15:clr>
        </p15:guide>
        <p15:guide id="51" orient="horz" pos="3045" userDrawn="1">
          <p15:clr>
            <a:srgbClr val="F26B43"/>
          </p15:clr>
        </p15:guide>
        <p15:guide id="52" orient="horz" pos="3181" userDrawn="1">
          <p15:clr>
            <a:srgbClr val="F26B43"/>
          </p15:clr>
        </p15:guide>
        <p15:guide id="53" orient="horz" pos="3317" userDrawn="1">
          <p15:clr>
            <a:srgbClr val="F26B43"/>
          </p15:clr>
        </p15:guide>
        <p15:guide id="55" orient="horz" pos="3453" userDrawn="1">
          <p15:clr>
            <a:srgbClr val="F26B43"/>
          </p15:clr>
        </p15:guide>
        <p15:guide id="57" orient="horz" pos="3589" userDrawn="1">
          <p15:clr>
            <a:srgbClr val="F26B43"/>
          </p15:clr>
        </p15:guide>
        <p15:guide id="58" orient="horz" pos="3725" userDrawn="1">
          <p15:clr>
            <a:srgbClr val="F26B43"/>
          </p15:clr>
        </p15:guide>
        <p15:guide id="59" orient="horz" pos="3861" userDrawn="1">
          <p15:clr>
            <a:srgbClr val="F26B43"/>
          </p15:clr>
        </p15:guide>
        <p15:guide id="60" orient="horz" pos="3997" userDrawn="1">
          <p15:clr>
            <a:srgbClr val="F26B43"/>
          </p15:clr>
        </p15:guide>
        <p15:guide id="61" orient="horz" pos="4133" userDrawn="1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1">
            <a:extLst>
              <a:ext uri="{FF2B5EF4-FFF2-40B4-BE49-F238E27FC236}">
                <a16:creationId xmlns:a16="http://schemas.microsoft.com/office/drawing/2014/main" id="{6F46B38B-F396-1046-A6EF-5FCCA0D99DFC}"/>
              </a:ext>
            </a:extLst>
          </p:cNvPr>
          <p:cNvSpPr txBox="1">
            <a:spLocks/>
          </p:cNvSpPr>
          <p:nvPr userDrawn="1"/>
        </p:nvSpPr>
        <p:spPr>
          <a:xfrm>
            <a:off x="11158634" y="6382413"/>
            <a:ext cx="460059" cy="21495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D9737D-88D3-4F40-A281-A12720D62BD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cs typeface="Arial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pic>
        <p:nvPicPr>
          <p:cNvPr id="11" name="Picture 18">
            <a:extLst>
              <a:ext uri="{FF2B5EF4-FFF2-40B4-BE49-F238E27FC236}">
                <a16:creationId xmlns:a16="http://schemas.microsoft.com/office/drawing/2014/main" id="{5DD60FEA-3538-905E-2B73-5FAAA303B5CC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rcRect/>
          <a:stretch/>
        </p:blipFill>
        <p:spPr>
          <a:xfrm>
            <a:off x="9472339" y="301220"/>
            <a:ext cx="2156949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6960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43" r:id="rId7"/>
    <p:sldLayoutId id="2147483742" r:id="rId8"/>
    <p:sldLayoutId id="2147483744" r:id="rId9"/>
    <p:sldLayoutId id="2147483745" r:id="rId10"/>
  </p:sldLayoutIdLst>
  <p:txStyles>
    <p:titleStyle>
      <a:lvl1pPr algn="l" defTabSz="1042690" rtl="0" eaLnBrk="1" latinLnBrk="0" hangingPunct="1">
        <a:lnSpc>
          <a:spcPct val="90000"/>
        </a:lnSpc>
        <a:spcBef>
          <a:spcPct val="0"/>
        </a:spcBef>
        <a:buNone/>
        <a:defRPr sz="501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0673" indent="-260673" algn="l" defTabSz="1042690" rtl="0" eaLnBrk="1" latinLnBrk="0" hangingPunct="1">
        <a:lnSpc>
          <a:spcPct val="90000"/>
        </a:lnSpc>
        <a:spcBef>
          <a:spcPts val="1140"/>
        </a:spcBef>
        <a:buFont typeface="Arial" panose="020B0604020202020204" pitchFamily="34" charset="0"/>
        <a:buChar char="•"/>
        <a:defRPr sz="3193" kern="1200">
          <a:solidFill>
            <a:schemeClr val="tx1"/>
          </a:solidFill>
          <a:latin typeface="+mn-lt"/>
          <a:ea typeface="+mn-ea"/>
          <a:cs typeface="+mn-cs"/>
        </a:defRPr>
      </a:lvl1pPr>
      <a:lvl2pPr marL="78201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737" kern="1200">
          <a:solidFill>
            <a:schemeClr val="tx1"/>
          </a:solidFill>
          <a:latin typeface="+mn-lt"/>
          <a:ea typeface="+mn-ea"/>
          <a:cs typeface="+mn-cs"/>
        </a:defRPr>
      </a:lvl2pPr>
      <a:lvl3pPr marL="1303363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281" kern="1200">
          <a:solidFill>
            <a:schemeClr val="tx1"/>
          </a:solidFill>
          <a:latin typeface="+mn-lt"/>
          <a:ea typeface="+mn-ea"/>
          <a:cs typeface="+mn-cs"/>
        </a:defRPr>
      </a:lvl3pPr>
      <a:lvl4pPr marL="182470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4pPr>
      <a:lvl5pPr marL="2346053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5pPr>
      <a:lvl6pPr marL="2867398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6pPr>
      <a:lvl7pPr marL="3388744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7pPr>
      <a:lvl8pPr marL="3910089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8pPr>
      <a:lvl9pPr marL="4431434" indent="-260673" algn="l" defTabSz="1042690" rtl="0" eaLnBrk="1" latinLnBrk="0" hangingPunct="1">
        <a:lnSpc>
          <a:spcPct val="90000"/>
        </a:lnSpc>
        <a:spcBef>
          <a:spcPts val="570"/>
        </a:spcBef>
        <a:buFont typeface="Arial" panose="020B0604020202020204" pitchFamily="34" charset="0"/>
        <a:buChar char="•"/>
        <a:defRPr sz="20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1pPr>
      <a:lvl2pPr marL="521345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2pPr>
      <a:lvl3pPr marL="1042690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3pPr>
      <a:lvl4pPr marL="1564035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4pPr>
      <a:lvl5pPr marL="208538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5pPr>
      <a:lvl6pPr marL="2606726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6pPr>
      <a:lvl7pPr marL="312807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7pPr>
      <a:lvl8pPr marL="3649416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8pPr>
      <a:lvl9pPr marL="4170761" algn="l" defTabSz="1042690" rtl="0" eaLnBrk="1" latinLnBrk="0" hangingPunct="1">
        <a:defRPr sz="20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70" userDrawn="1">
          <p15:clr>
            <a:srgbClr val="F26B43"/>
          </p15:clr>
        </p15:guide>
        <p15:guide id="2" pos="824" userDrawn="1">
          <p15:clr>
            <a:srgbClr val="F26B43"/>
          </p15:clr>
        </p15:guide>
        <p15:guide id="3" pos="960" userDrawn="1">
          <p15:clr>
            <a:srgbClr val="F26B43"/>
          </p15:clr>
        </p15:guide>
        <p15:guide id="4" pos="1413" userDrawn="1">
          <p15:clr>
            <a:srgbClr val="F26B43"/>
          </p15:clr>
        </p15:guide>
        <p15:guide id="5" pos="1549" userDrawn="1">
          <p15:clr>
            <a:srgbClr val="F26B43"/>
          </p15:clr>
        </p15:guide>
        <p15:guide id="6" pos="2003" userDrawn="1">
          <p15:clr>
            <a:srgbClr val="F26B43"/>
          </p15:clr>
        </p15:guide>
        <p15:guide id="7" pos="2139" userDrawn="1">
          <p15:clr>
            <a:srgbClr val="F26B43"/>
          </p15:clr>
        </p15:guide>
        <p15:guide id="8" pos="2593" userDrawn="1">
          <p15:clr>
            <a:srgbClr val="F26B43"/>
          </p15:clr>
        </p15:guide>
        <p15:guide id="9" pos="2729" userDrawn="1">
          <p15:clr>
            <a:srgbClr val="F26B43"/>
          </p15:clr>
        </p15:guide>
        <p15:guide id="10" pos="3182" userDrawn="1">
          <p15:clr>
            <a:srgbClr val="F26B43"/>
          </p15:clr>
        </p15:guide>
        <p15:guide id="11" pos="3318" userDrawn="1">
          <p15:clr>
            <a:srgbClr val="F26B43"/>
          </p15:clr>
        </p15:guide>
        <p15:guide id="12" pos="3772" userDrawn="1">
          <p15:clr>
            <a:srgbClr val="F26B43"/>
          </p15:clr>
        </p15:guide>
        <p15:guide id="13" pos="3908" userDrawn="1">
          <p15:clr>
            <a:srgbClr val="F26B43"/>
          </p15:clr>
        </p15:guide>
        <p15:guide id="14" pos="4362" userDrawn="1">
          <p15:clr>
            <a:srgbClr val="F26B43"/>
          </p15:clr>
        </p15:guide>
        <p15:guide id="15" pos="4498" userDrawn="1">
          <p15:clr>
            <a:srgbClr val="F26B43"/>
          </p15:clr>
        </p15:guide>
        <p15:guide id="16" pos="4952" userDrawn="1">
          <p15:clr>
            <a:srgbClr val="F26B43"/>
          </p15:clr>
        </p15:guide>
        <p15:guide id="17" pos="5087" userDrawn="1">
          <p15:clr>
            <a:srgbClr val="F26B43"/>
          </p15:clr>
        </p15:guide>
        <p15:guide id="18" pos="5541" userDrawn="1">
          <p15:clr>
            <a:srgbClr val="F26B43"/>
          </p15:clr>
        </p15:guide>
        <p15:guide id="19" pos="5676" userDrawn="1">
          <p15:clr>
            <a:srgbClr val="F26B43"/>
          </p15:clr>
        </p15:guide>
        <p15:guide id="20" pos="6131" userDrawn="1">
          <p15:clr>
            <a:srgbClr val="F26B43"/>
          </p15:clr>
        </p15:guide>
        <p15:guide id="21" pos="6267" userDrawn="1">
          <p15:clr>
            <a:srgbClr val="F26B43"/>
          </p15:clr>
        </p15:guide>
        <p15:guide id="22" pos="6720" userDrawn="1">
          <p15:clr>
            <a:srgbClr val="F26B43"/>
          </p15:clr>
        </p15:guide>
        <p15:guide id="23" pos="6856" userDrawn="1">
          <p15:clr>
            <a:srgbClr val="F26B43"/>
          </p15:clr>
        </p15:guide>
        <p15:guide id="24" pos="7310" userDrawn="1">
          <p15:clr>
            <a:srgbClr val="F26B43"/>
          </p15:clr>
        </p15:guide>
        <p15:guide id="25" orient="horz" pos="187" userDrawn="1">
          <p15:clr>
            <a:srgbClr val="F26B43"/>
          </p15:clr>
        </p15:guide>
        <p15:guide id="30" orient="horz" pos="864" userDrawn="1">
          <p15:clr>
            <a:srgbClr val="F26B43"/>
          </p15:clr>
        </p15:guide>
        <p15:guide id="33" orient="horz" pos="1003" userDrawn="1">
          <p15:clr>
            <a:srgbClr val="F26B43"/>
          </p15:clr>
        </p15:guide>
        <p15:guide id="34" orient="horz" pos="1275" userDrawn="1">
          <p15:clr>
            <a:srgbClr val="F26B43"/>
          </p15:clr>
        </p15:guide>
        <p15:guide id="36" orient="horz" pos="595" userDrawn="1">
          <p15:clr>
            <a:srgbClr val="F26B43"/>
          </p15:clr>
        </p15:guide>
        <p15:guide id="37" orient="horz" pos="731" userDrawn="1">
          <p15:clr>
            <a:srgbClr val="F26B43"/>
          </p15:clr>
        </p15:guide>
        <p15:guide id="38" orient="horz" pos="1684" userDrawn="1">
          <p15:clr>
            <a:srgbClr val="F26B43"/>
          </p15:clr>
        </p15:guide>
        <p15:guide id="39" orient="horz" pos="1412" userDrawn="1">
          <p15:clr>
            <a:srgbClr val="F26B43"/>
          </p15:clr>
        </p15:guide>
        <p15:guide id="40" orient="horz" pos="1548" userDrawn="1">
          <p15:clr>
            <a:srgbClr val="F26B43"/>
          </p15:clr>
        </p15:guide>
        <p15:guide id="41" orient="horz" pos="1139" userDrawn="1">
          <p15:clr>
            <a:srgbClr val="F26B43"/>
          </p15:clr>
        </p15:guide>
        <p15:guide id="42" orient="horz" pos="2092" userDrawn="1">
          <p15:clr>
            <a:srgbClr val="F26B43"/>
          </p15:clr>
        </p15:guide>
        <p15:guide id="43" orient="horz" pos="1820" userDrawn="1">
          <p15:clr>
            <a:srgbClr val="F26B43"/>
          </p15:clr>
        </p15:guide>
        <p15:guide id="44" orient="horz" pos="2364" userDrawn="1">
          <p15:clr>
            <a:srgbClr val="F26B43"/>
          </p15:clr>
        </p15:guide>
        <p15:guide id="45" orient="horz" pos="1956" userDrawn="1">
          <p15:clr>
            <a:srgbClr val="F26B43"/>
          </p15:clr>
        </p15:guide>
        <p15:guide id="46" orient="horz" pos="2500" userDrawn="1">
          <p15:clr>
            <a:srgbClr val="F26B43"/>
          </p15:clr>
        </p15:guide>
        <p15:guide id="47" orient="horz" pos="2228" userDrawn="1">
          <p15:clr>
            <a:srgbClr val="F26B43"/>
          </p15:clr>
        </p15:guide>
        <p15:guide id="48" orient="horz" pos="2636" userDrawn="1">
          <p15:clr>
            <a:srgbClr val="F26B43"/>
          </p15:clr>
        </p15:guide>
        <p15:guide id="49" orient="horz" pos="2772" userDrawn="1">
          <p15:clr>
            <a:srgbClr val="F26B43"/>
          </p15:clr>
        </p15:guide>
        <p15:guide id="50" orient="horz" pos="2908" userDrawn="1">
          <p15:clr>
            <a:srgbClr val="F26B43"/>
          </p15:clr>
        </p15:guide>
        <p15:guide id="51" orient="horz" pos="3045" userDrawn="1">
          <p15:clr>
            <a:srgbClr val="F26B43"/>
          </p15:clr>
        </p15:guide>
        <p15:guide id="52" orient="horz" pos="3181" userDrawn="1">
          <p15:clr>
            <a:srgbClr val="F26B43"/>
          </p15:clr>
        </p15:guide>
        <p15:guide id="53" orient="horz" pos="3317" userDrawn="1">
          <p15:clr>
            <a:srgbClr val="F26B43"/>
          </p15:clr>
        </p15:guide>
        <p15:guide id="55" orient="horz" pos="3453" userDrawn="1">
          <p15:clr>
            <a:srgbClr val="F26B43"/>
          </p15:clr>
        </p15:guide>
        <p15:guide id="57" orient="horz" pos="3589" userDrawn="1">
          <p15:clr>
            <a:srgbClr val="F26B43"/>
          </p15:clr>
        </p15:guide>
        <p15:guide id="58" orient="horz" pos="3725" userDrawn="1">
          <p15:clr>
            <a:srgbClr val="F26B43"/>
          </p15:clr>
        </p15:guide>
        <p15:guide id="59" orient="horz" pos="3861" userDrawn="1">
          <p15:clr>
            <a:srgbClr val="F26B43"/>
          </p15:clr>
        </p15:guide>
        <p15:guide id="60" orient="horz" pos="3997" userDrawn="1">
          <p15:clr>
            <a:srgbClr val="F26B43"/>
          </p15:clr>
        </p15:guide>
        <p15:guide id="61" orient="horz" pos="413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chart" Target="../charts/chart5.xml"/><Relationship Id="rId3" Type="http://schemas.openxmlformats.org/officeDocument/2006/relationships/tags" Target="../tags/tag3.xml"/><Relationship Id="rId7" Type="http://schemas.openxmlformats.org/officeDocument/2006/relationships/image" Target="../media/image13.png"/><Relationship Id="rId12" Type="http://schemas.openxmlformats.org/officeDocument/2006/relationships/chart" Target="../charts/chart4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5.xml"/><Relationship Id="rId11" Type="http://schemas.openxmlformats.org/officeDocument/2006/relationships/chart" Target="../charts/chart3.xml"/><Relationship Id="rId5" Type="http://schemas.openxmlformats.org/officeDocument/2006/relationships/tags" Target="../tags/tag5.xml"/><Relationship Id="rId10" Type="http://schemas.openxmlformats.org/officeDocument/2006/relationships/chart" Target="../charts/chart2.xml"/><Relationship Id="rId4" Type="http://schemas.openxmlformats.org/officeDocument/2006/relationships/tags" Target="../tags/tag4.xml"/><Relationship Id="rId9" Type="http://schemas.openxmlformats.org/officeDocument/2006/relationships/chart" Target="../charts/char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564749" y="435627"/>
            <a:ext cx="2902227" cy="15156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Комиссия Атом-СНГ</a:t>
            </a: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587374" y="1376363"/>
            <a:ext cx="8418840" cy="3673475"/>
          </a:xfrm>
        </p:spPr>
        <p:txBody>
          <a:bodyPr/>
          <a:lstStyle/>
          <a:p>
            <a:r>
              <a:rPr lang="ru-RU" sz="3400" dirty="0"/>
              <a:t>Реализация Межгосударственной целевой программы «Рекультивация территорий государств, подвергшихся воздействию уранодобывающих производств»</a:t>
            </a:r>
            <a:endParaRPr lang="ru-RU" sz="3400" b="0" i="1" dirty="0">
              <a:solidFill>
                <a:schemeClr val="tx1"/>
              </a:solidFill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Абрамов Александр Анатольевич</a:t>
            </a:r>
          </a:p>
          <a:p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/>
          </p:nvPr>
        </p:nvSpPr>
        <p:spPr>
          <a:xfrm>
            <a:off x="587375" y="5693589"/>
            <a:ext cx="7967901" cy="273494"/>
          </a:xfrm>
        </p:spPr>
        <p:txBody>
          <a:bodyPr/>
          <a:lstStyle/>
          <a:p>
            <a:r>
              <a:rPr lang="ru-RU" dirty="0"/>
              <a:t>Заместитель директора по государственной политике в области РАО, ОЯТ и ВЭ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 smtClean="0"/>
              <a:t>2</a:t>
            </a:r>
            <a:r>
              <a:rPr lang="en-US" dirty="0" smtClean="0"/>
              <a:t>8</a:t>
            </a:r>
            <a:r>
              <a:rPr lang="ru-RU" dirty="0" smtClean="0"/>
              <a:t>.11.2023</a:t>
            </a:r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446481" y="1375906"/>
            <a:ext cx="119131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500" b="1" dirty="0"/>
              <a:t>РОС</a:t>
            </a:r>
            <a:r>
              <a:rPr lang="ru-RU" sz="1500" dirty="0"/>
              <a:t>АТОМ</a:t>
            </a:r>
          </a:p>
        </p:txBody>
      </p:sp>
    </p:spTree>
    <p:extLst>
      <p:ext uri="{BB962C8B-B14F-4D97-AF65-F5344CB8AC3E}">
        <p14:creationId xmlns:p14="http://schemas.microsoft.com/office/powerpoint/2010/main" val="26973231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Заголовок 5"/>
          <p:cNvSpPr txBox="1">
            <a:spLocks/>
          </p:cNvSpPr>
          <p:nvPr/>
        </p:nvSpPr>
        <p:spPr>
          <a:xfrm>
            <a:off x="401339" y="370731"/>
            <a:ext cx="5899470" cy="459206"/>
          </a:xfrm>
          <a:prstGeom prst="rect">
            <a:avLst/>
          </a:prstGeom>
        </p:spPr>
        <p:txBody>
          <a:bodyPr lIns="0" tIns="0" rIns="0" bIns="0"/>
          <a:lstStyle>
            <a:lvl1pPr algn="l" defTabSz="104269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3200" b="1" kern="120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sz="2400" dirty="0"/>
              <a:t>Цели программы, решаемые задачи</a:t>
            </a:r>
            <a:endParaRPr lang="ru-RU" sz="2300" dirty="0"/>
          </a:p>
        </p:txBody>
      </p:sp>
      <p:sp>
        <p:nvSpPr>
          <p:cNvPr id="38" name="Заголовок 2"/>
          <p:cNvSpPr txBox="1">
            <a:spLocks/>
          </p:cNvSpPr>
          <p:nvPr/>
        </p:nvSpPr>
        <p:spPr>
          <a:xfrm>
            <a:off x="587375" y="296863"/>
            <a:ext cx="8208963" cy="647700"/>
          </a:xfrm>
          <a:prstGeom prst="rect">
            <a:avLst/>
          </a:prstGeom>
        </p:spPr>
        <p:txBody>
          <a:bodyPr lIns="0" tIns="0" rIns="0" bIns="0"/>
          <a:lstStyle>
            <a:lvl1pPr algn="l" defTabSz="104269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3200" b="1" kern="120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ru-RU" sz="2300" dirty="0"/>
          </a:p>
        </p:txBody>
      </p:sp>
      <p:sp>
        <p:nvSpPr>
          <p:cNvPr id="23" name="等腰三角形 6">
            <a:extLst>
              <a:ext uri="{FF2B5EF4-FFF2-40B4-BE49-F238E27FC236}">
                <a16:creationId xmlns:a16="http://schemas.microsoft.com/office/drawing/2014/main" id="{87BA29AD-A651-45F4-9F4E-562734606DD3}"/>
              </a:ext>
            </a:extLst>
          </p:cNvPr>
          <p:cNvSpPr/>
          <p:nvPr/>
        </p:nvSpPr>
        <p:spPr>
          <a:xfrm flipV="1">
            <a:off x="5747099" y="5605033"/>
            <a:ext cx="534743" cy="261310"/>
          </a:xfrm>
          <a:prstGeom prst="triangle">
            <a:avLst>
              <a:gd name="adj" fmla="val 50907"/>
            </a:avLst>
          </a:prstGeom>
          <a:solidFill>
            <a:schemeClr val="accent1"/>
          </a:solidFill>
          <a:ln>
            <a:noFill/>
          </a:ln>
          <a:effectLst>
            <a:innerShdw blurRad="152400" dist="76200" dir="13500000">
              <a:prstClr val="black">
                <a:alpha val="4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4" name="等腰三角形 7">
            <a:extLst>
              <a:ext uri="{FF2B5EF4-FFF2-40B4-BE49-F238E27FC236}">
                <a16:creationId xmlns:a16="http://schemas.microsoft.com/office/drawing/2014/main" id="{FC648932-7147-4023-8504-D0F54B2045DD}"/>
              </a:ext>
            </a:extLst>
          </p:cNvPr>
          <p:cNvSpPr/>
          <p:nvPr/>
        </p:nvSpPr>
        <p:spPr>
          <a:xfrm rot="7200000" flipV="1">
            <a:off x="4421417" y="3269102"/>
            <a:ext cx="534712" cy="261323"/>
          </a:xfrm>
          <a:prstGeom prst="triangle">
            <a:avLst>
              <a:gd name="adj" fmla="val 50907"/>
            </a:avLst>
          </a:prstGeom>
          <a:solidFill>
            <a:srgbClr val="6DACE3"/>
          </a:solidFill>
          <a:ln>
            <a:noFill/>
          </a:ln>
          <a:effectLst>
            <a:innerShdw blurRad="152400" dist="76200" dir="13500000">
              <a:prstClr val="black">
                <a:alpha val="4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5" name="等腰三角形 8">
            <a:extLst>
              <a:ext uri="{FF2B5EF4-FFF2-40B4-BE49-F238E27FC236}">
                <a16:creationId xmlns:a16="http://schemas.microsoft.com/office/drawing/2014/main" id="{E86099FE-811C-48F4-8E0C-82D6D63222F3}"/>
              </a:ext>
            </a:extLst>
          </p:cNvPr>
          <p:cNvSpPr/>
          <p:nvPr/>
        </p:nvSpPr>
        <p:spPr>
          <a:xfrm rot="14400000" flipV="1">
            <a:off x="7117178" y="3276307"/>
            <a:ext cx="534712" cy="261323"/>
          </a:xfrm>
          <a:prstGeom prst="triangle">
            <a:avLst>
              <a:gd name="adj" fmla="val 50907"/>
            </a:avLst>
          </a:prstGeom>
          <a:solidFill>
            <a:srgbClr val="025EA1"/>
          </a:solidFill>
          <a:ln>
            <a:noFill/>
          </a:ln>
          <a:effectLst>
            <a:innerShdw blurRad="152400" dist="76200" dir="13500000">
              <a:prstClr val="black">
                <a:alpha val="4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6" name="任意多边形 9">
            <a:extLst>
              <a:ext uri="{FF2B5EF4-FFF2-40B4-BE49-F238E27FC236}">
                <a16:creationId xmlns:a16="http://schemas.microsoft.com/office/drawing/2014/main" id="{4D26A4FE-80F0-4973-B2D5-919332F4096F}"/>
              </a:ext>
            </a:extLst>
          </p:cNvPr>
          <p:cNvSpPr/>
          <p:nvPr/>
        </p:nvSpPr>
        <p:spPr>
          <a:xfrm>
            <a:off x="3585685" y="3471316"/>
            <a:ext cx="2459017" cy="2125563"/>
          </a:xfrm>
          <a:custGeom>
            <a:avLst/>
            <a:gdLst>
              <a:gd name="connsiteX0" fmla="*/ 1365925 w 2724354"/>
              <a:gd name="connsiteY0" fmla="*/ 0 h 2355042"/>
              <a:gd name="connsiteX1" fmla="*/ 2724354 w 2724354"/>
              <a:gd name="connsiteY1" fmla="*/ 784290 h 2355042"/>
              <a:gd name="connsiteX2" fmla="*/ 2724354 w 2724354"/>
              <a:gd name="connsiteY2" fmla="*/ 2355042 h 2355042"/>
              <a:gd name="connsiteX3" fmla="*/ 0 w 2724354"/>
              <a:gd name="connsiteY3" fmla="*/ 2355042 h 2355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24354" h="2355042">
                <a:moveTo>
                  <a:pt x="1365925" y="0"/>
                </a:moveTo>
                <a:lnTo>
                  <a:pt x="2724354" y="784290"/>
                </a:lnTo>
                <a:lnTo>
                  <a:pt x="2724354" y="2355042"/>
                </a:lnTo>
                <a:lnTo>
                  <a:pt x="0" y="2355042"/>
                </a:lnTo>
                <a:close/>
              </a:path>
            </a:pathLst>
          </a:custGeom>
          <a:solidFill>
            <a:schemeClr val="accent1">
              <a:alpha val="70000"/>
            </a:schemeClr>
          </a:solidFill>
          <a:ln w="25400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lumMod val="85000"/>
                  </a:schemeClr>
                </a:gs>
              </a:gsLst>
              <a:lin ang="2700000" scaled="1"/>
              <a:tileRect/>
            </a:gradFill>
          </a:ln>
          <a:effectLst>
            <a:outerShdw blurRad="1270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7" name="任意多边形 10">
            <a:extLst>
              <a:ext uri="{FF2B5EF4-FFF2-40B4-BE49-F238E27FC236}">
                <a16:creationId xmlns:a16="http://schemas.microsoft.com/office/drawing/2014/main" id="{FB3873D3-8660-4EBF-909B-B3BD699C3F4A}"/>
              </a:ext>
            </a:extLst>
          </p:cNvPr>
          <p:cNvSpPr/>
          <p:nvPr/>
        </p:nvSpPr>
        <p:spPr>
          <a:xfrm flipH="1">
            <a:off x="6026780" y="3463159"/>
            <a:ext cx="2459017" cy="2125563"/>
          </a:xfrm>
          <a:custGeom>
            <a:avLst/>
            <a:gdLst>
              <a:gd name="connsiteX0" fmla="*/ 1365925 w 2724354"/>
              <a:gd name="connsiteY0" fmla="*/ 0 h 2355042"/>
              <a:gd name="connsiteX1" fmla="*/ 2724354 w 2724354"/>
              <a:gd name="connsiteY1" fmla="*/ 784290 h 2355042"/>
              <a:gd name="connsiteX2" fmla="*/ 2724354 w 2724354"/>
              <a:gd name="connsiteY2" fmla="*/ 2355042 h 2355042"/>
              <a:gd name="connsiteX3" fmla="*/ 0 w 2724354"/>
              <a:gd name="connsiteY3" fmla="*/ 2355042 h 2355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24354" h="2355042">
                <a:moveTo>
                  <a:pt x="1365925" y="0"/>
                </a:moveTo>
                <a:lnTo>
                  <a:pt x="2724354" y="784290"/>
                </a:lnTo>
                <a:lnTo>
                  <a:pt x="2724354" y="2355042"/>
                </a:lnTo>
                <a:lnTo>
                  <a:pt x="0" y="2355042"/>
                </a:lnTo>
                <a:close/>
              </a:path>
            </a:pathLst>
          </a:custGeom>
          <a:solidFill>
            <a:srgbClr val="025EA1">
              <a:alpha val="70000"/>
            </a:srgbClr>
          </a:solidFill>
          <a:ln w="25400">
            <a:gradFill>
              <a:gsLst>
                <a:gs pos="0">
                  <a:schemeClr val="bg1"/>
                </a:gs>
                <a:gs pos="100000">
                  <a:schemeClr val="bg1">
                    <a:lumMod val="85000"/>
                  </a:schemeClr>
                </a:gs>
              </a:gsLst>
              <a:lin ang="8100000" scaled="0"/>
            </a:gradFill>
          </a:ln>
          <a:effectLst>
            <a:outerShdw blurRad="1270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8" name="任意多边形 11">
            <a:extLst>
              <a:ext uri="{FF2B5EF4-FFF2-40B4-BE49-F238E27FC236}">
                <a16:creationId xmlns:a16="http://schemas.microsoft.com/office/drawing/2014/main" id="{849BEADF-DA47-4CE9-AB4F-14E957FAD984}"/>
              </a:ext>
            </a:extLst>
          </p:cNvPr>
          <p:cNvSpPr/>
          <p:nvPr/>
        </p:nvSpPr>
        <p:spPr>
          <a:xfrm rot="14400000" flipH="1">
            <a:off x="4494058" y="1865426"/>
            <a:ext cx="2458888" cy="2125675"/>
          </a:xfrm>
          <a:custGeom>
            <a:avLst/>
            <a:gdLst>
              <a:gd name="connsiteX0" fmla="*/ 1365925 w 2724354"/>
              <a:gd name="connsiteY0" fmla="*/ 0 h 2355042"/>
              <a:gd name="connsiteX1" fmla="*/ 2724354 w 2724354"/>
              <a:gd name="connsiteY1" fmla="*/ 784290 h 2355042"/>
              <a:gd name="connsiteX2" fmla="*/ 2724354 w 2724354"/>
              <a:gd name="connsiteY2" fmla="*/ 2355042 h 2355042"/>
              <a:gd name="connsiteX3" fmla="*/ 0 w 2724354"/>
              <a:gd name="connsiteY3" fmla="*/ 2355042 h 23550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24354" h="2355042">
                <a:moveTo>
                  <a:pt x="1365925" y="0"/>
                </a:moveTo>
                <a:lnTo>
                  <a:pt x="2724354" y="784290"/>
                </a:lnTo>
                <a:lnTo>
                  <a:pt x="2724354" y="2355042"/>
                </a:lnTo>
                <a:lnTo>
                  <a:pt x="0" y="2355042"/>
                </a:lnTo>
                <a:close/>
              </a:path>
            </a:pathLst>
          </a:custGeom>
          <a:solidFill>
            <a:srgbClr val="6DACE3">
              <a:alpha val="70000"/>
            </a:srgbClr>
          </a:solidFill>
          <a:ln w="25400">
            <a:noFill/>
          </a:ln>
          <a:effectLst>
            <a:outerShdw blurRad="1270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grpSp>
        <p:nvGrpSpPr>
          <p:cNvPr id="29" name="组合 12">
            <a:extLst>
              <a:ext uri="{FF2B5EF4-FFF2-40B4-BE49-F238E27FC236}">
                <a16:creationId xmlns:a16="http://schemas.microsoft.com/office/drawing/2014/main" id="{ABD0D96D-5193-43A5-A125-2810CC56E592}"/>
              </a:ext>
            </a:extLst>
          </p:cNvPr>
          <p:cNvGrpSpPr/>
          <p:nvPr/>
        </p:nvGrpSpPr>
        <p:grpSpPr>
          <a:xfrm>
            <a:off x="4514585" y="2688303"/>
            <a:ext cx="972423" cy="660553"/>
            <a:chOff x="4299023" y="1921477"/>
            <a:chExt cx="1671712" cy="1047339"/>
          </a:xfrm>
          <a:solidFill>
            <a:srgbClr val="6DACE3"/>
          </a:solidFill>
        </p:grpSpPr>
        <p:sp>
          <p:nvSpPr>
            <p:cNvPr id="30" name="任意多边形 13">
              <a:extLst>
                <a:ext uri="{FF2B5EF4-FFF2-40B4-BE49-F238E27FC236}">
                  <a16:creationId xmlns:a16="http://schemas.microsoft.com/office/drawing/2014/main" id="{87642A42-3367-4E12-A277-7F860D95A57A}"/>
                </a:ext>
              </a:extLst>
            </p:cNvPr>
            <p:cNvSpPr/>
            <p:nvPr/>
          </p:nvSpPr>
          <p:spPr>
            <a:xfrm rot="15321110">
              <a:off x="4611209" y="1609291"/>
              <a:ext cx="1047339" cy="1671712"/>
            </a:xfrm>
            <a:custGeom>
              <a:avLst/>
              <a:gdLst>
                <a:gd name="connsiteX0" fmla="*/ 0 w 1543050"/>
                <a:gd name="connsiteY0" fmla="*/ 1730751 h 2462944"/>
                <a:gd name="connsiteX1" fmla="*/ 309567 w 1543050"/>
                <a:gd name="connsiteY1" fmla="*/ 1730751 h 2462944"/>
                <a:gd name="connsiteX2" fmla="*/ 309567 w 1543050"/>
                <a:gd name="connsiteY2" fmla="*/ 0 h 2462944"/>
                <a:gd name="connsiteX3" fmla="*/ 1233483 w 1543050"/>
                <a:gd name="connsiteY3" fmla="*/ 912638 h 2462944"/>
                <a:gd name="connsiteX4" fmla="*/ 1233483 w 1543050"/>
                <a:gd name="connsiteY4" fmla="*/ 1730751 h 2462944"/>
                <a:gd name="connsiteX5" fmla="*/ 1543050 w 1543050"/>
                <a:gd name="connsiteY5" fmla="*/ 1730751 h 2462944"/>
                <a:gd name="connsiteX6" fmla="*/ 771525 w 1543050"/>
                <a:gd name="connsiteY6" fmla="*/ 2462944 h 2462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3050" h="2462944">
                  <a:moveTo>
                    <a:pt x="0" y="1730751"/>
                  </a:moveTo>
                  <a:lnTo>
                    <a:pt x="309567" y="1730751"/>
                  </a:lnTo>
                  <a:lnTo>
                    <a:pt x="309567" y="0"/>
                  </a:lnTo>
                  <a:lnTo>
                    <a:pt x="1233483" y="912638"/>
                  </a:lnTo>
                  <a:lnTo>
                    <a:pt x="1233483" y="1730751"/>
                  </a:lnTo>
                  <a:lnTo>
                    <a:pt x="1543050" y="1730751"/>
                  </a:lnTo>
                  <a:lnTo>
                    <a:pt x="771525" y="2462944"/>
                  </a:lnTo>
                  <a:close/>
                </a:path>
              </a:pathLst>
            </a:custGeom>
            <a:grpFill/>
            <a:ln>
              <a:noFill/>
            </a:ln>
            <a:effectLst>
              <a:outerShdw blurRad="152400" dist="177800" dir="2700000" sx="95000" sy="95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31" name="文本框 31">
              <a:extLst>
                <a:ext uri="{FF2B5EF4-FFF2-40B4-BE49-F238E27FC236}">
                  <a16:creationId xmlns:a16="http://schemas.microsoft.com/office/drawing/2014/main" id="{1805A8F7-49AE-468C-9414-D7B21DB30664}"/>
                </a:ext>
              </a:extLst>
            </p:cNvPr>
            <p:cNvSpPr txBox="1"/>
            <p:nvPr/>
          </p:nvSpPr>
          <p:spPr>
            <a:xfrm>
              <a:off x="4812096" y="2122585"/>
              <a:ext cx="785134" cy="5367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altLang="zh-CN" sz="1600" b="1" dirty="0">
                  <a:solidFill>
                    <a:prstClr val="white"/>
                  </a:solidFill>
                  <a:ea typeface="微软雅黑" panose="020B0503020204020204" pitchFamily="34" charset="-122"/>
                  <a:cs typeface="+mn-ea"/>
                  <a:sym typeface="+mn-lt"/>
                </a:rPr>
                <a:t>1</a:t>
              </a:r>
              <a:endParaRPr lang="zh-CN" altLang="en-US" sz="1600" b="1" dirty="0">
                <a:solidFill>
                  <a:prstClr val="white"/>
                </a:solidFill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grpSp>
        <p:nvGrpSpPr>
          <p:cNvPr id="32" name="组合 15">
            <a:extLst>
              <a:ext uri="{FF2B5EF4-FFF2-40B4-BE49-F238E27FC236}">
                <a16:creationId xmlns:a16="http://schemas.microsoft.com/office/drawing/2014/main" id="{9DB86C0E-0E61-4623-8E88-F0397EAC9D89}"/>
              </a:ext>
            </a:extLst>
          </p:cNvPr>
          <p:cNvGrpSpPr/>
          <p:nvPr/>
        </p:nvGrpSpPr>
        <p:grpSpPr>
          <a:xfrm>
            <a:off x="5197454" y="5216910"/>
            <a:ext cx="706471" cy="920755"/>
            <a:chOff x="4568290" y="4283461"/>
            <a:chExt cx="1047339" cy="1671712"/>
          </a:xfrm>
          <a:solidFill>
            <a:schemeClr val="accent1"/>
          </a:solidFill>
        </p:grpSpPr>
        <p:sp>
          <p:nvSpPr>
            <p:cNvPr id="33" name="任意多边形 16">
              <a:extLst>
                <a:ext uri="{FF2B5EF4-FFF2-40B4-BE49-F238E27FC236}">
                  <a16:creationId xmlns:a16="http://schemas.microsoft.com/office/drawing/2014/main" id="{00500179-8D1B-43EA-8E4A-9F8B0F0F8156}"/>
                </a:ext>
              </a:extLst>
            </p:cNvPr>
            <p:cNvSpPr/>
            <p:nvPr/>
          </p:nvSpPr>
          <p:spPr>
            <a:xfrm rot="8121110">
              <a:off x="4568290" y="4283461"/>
              <a:ext cx="1047339" cy="1671712"/>
            </a:xfrm>
            <a:custGeom>
              <a:avLst/>
              <a:gdLst>
                <a:gd name="connsiteX0" fmla="*/ 0 w 1543050"/>
                <a:gd name="connsiteY0" fmla="*/ 1730751 h 2462944"/>
                <a:gd name="connsiteX1" fmla="*/ 309567 w 1543050"/>
                <a:gd name="connsiteY1" fmla="*/ 1730751 h 2462944"/>
                <a:gd name="connsiteX2" fmla="*/ 309567 w 1543050"/>
                <a:gd name="connsiteY2" fmla="*/ 0 h 2462944"/>
                <a:gd name="connsiteX3" fmla="*/ 1233483 w 1543050"/>
                <a:gd name="connsiteY3" fmla="*/ 912638 h 2462944"/>
                <a:gd name="connsiteX4" fmla="*/ 1233483 w 1543050"/>
                <a:gd name="connsiteY4" fmla="*/ 1730751 h 2462944"/>
                <a:gd name="connsiteX5" fmla="*/ 1543050 w 1543050"/>
                <a:gd name="connsiteY5" fmla="*/ 1730751 h 2462944"/>
                <a:gd name="connsiteX6" fmla="*/ 771525 w 1543050"/>
                <a:gd name="connsiteY6" fmla="*/ 2462944 h 2462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3050" h="2462944">
                  <a:moveTo>
                    <a:pt x="0" y="1730751"/>
                  </a:moveTo>
                  <a:lnTo>
                    <a:pt x="309567" y="1730751"/>
                  </a:lnTo>
                  <a:lnTo>
                    <a:pt x="309567" y="0"/>
                  </a:lnTo>
                  <a:lnTo>
                    <a:pt x="1233483" y="912638"/>
                  </a:lnTo>
                  <a:lnTo>
                    <a:pt x="1233483" y="1730751"/>
                  </a:lnTo>
                  <a:lnTo>
                    <a:pt x="1543050" y="1730751"/>
                  </a:lnTo>
                  <a:lnTo>
                    <a:pt x="771525" y="2462944"/>
                  </a:lnTo>
                  <a:close/>
                </a:path>
              </a:pathLst>
            </a:custGeom>
            <a:grpFill/>
            <a:ln>
              <a:noFill/>
            </a:ln>
            <a:effectLst>
              <a:outerShdw blurRad="152400" dist="177800" dir="2700000" sx="95000" sy="95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34" name="文本框 32">
              <a:extLst>
                <a:ext uri="{FF2B5EF4-FFF2-40B4-BE49-F238E27FC236}">
                  <a16:creationId xmlns:a16="http://schemas.microsoft.com/office/drawing/2014/main" id="{AB491385-415D-4BF8-874A-72537103664F}"/>
                </a:ext>
              </a:extLst>
            </p:cNvPr>
            <p:cNvSpPr txBox="1"/>
            <p:nvPr/>
          </p:nvSpPr>
          <p:spPr>
            <a:xfrm>
              <a:off x="4668803" y="4757217"/>
              <a:ext cx="785133" cy="6146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altLang="zh-CN" sz="1600" b="1" dirty="0">
                  <a:solidFill>
                    <a:prstClr val="white"/>
                  </a:solidFill>
                  <a:ea typeface="微软雅黑" panose="020B0503020204020204" pitchFamily="34" charset="-122"/>
                  <a:cs typeface="+mn-ea"/>
                  <a:sym typeface="+mn-lt"/>
                </a:rPr>
                <a:t>3</a:t>
              </a:r>
              <a:endParaRPr lang="zh-CN" altLang="en-US" sz="1600" b="1" dirty="0">
                <a:solidFill>
                  <a:prstClr val="white"/>
                </a:solidFill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grpSp>
        <p:nvGrpSpPr>
          <p:cNvPr id="35" name="组合 18">
            <a:extLst>
              <a:ext uri="{FF2B5EF4-FFF2-40B4-BE49-F238E27FC236}">
                <a16:creationId xmlns:a16="http://schemas.microsoft.com/office/drawing/2014/main" id="{F45D8A86-AB17-4320-84AE-FAA48CBD8005}"/>
              </a:ext>
            </a:extLst>
          </p:cNvPr>
          <p:cNvGrpSpPr/>
          <p:nvPr/>
        </p:nvGrpSpPr>
        <p:grpSpPr>
          <a:xfrm>
            <a:off x="7209807" y="3382960"/>
            <a:ext cx="704596" cy="1001881"/>
            <a:chOff x="6857441" y="2876664"/>
            <a:chExt cx="1047339" cy="1671712"/>
          </a:xfrm>
          <a:solidFill>
            <a:srgbClr val="025EA1"/>
          </a:solidFill>
        </p:grpSpPr>
        <p:sp>
          <p:nvSpPr>
            <p:cNvPr id="36" name="任意多边形 19">
              <a:extLst>
                <a:ext uri="{FF2B5EF4-FFF2-40B4-BE49-F238E27FC236}">
                  <a16:creationId xmlns:a16="http://schemas.microsoft.com/office/drawing/2014/main" id="{D68BF26D-4B79-425C-A404-B8927E7A0196}"/>
                </a:ext>
              </a:extLst>
            </p:cNvPr>
            <p:cNvSpPr/>
            <p:nvPr/>
          </p:nvSpPr>
          <p:spPr>
            <a:xfrm rot="921110">
              <a:off x="6857441" y="2876664"/>
              <a:ext cx="1047339" cy="1671712"/>
            </a:xfrm>
            <a:custGeom>
              <a:avLst/>
              <a:gdLst>
                <a:gd name="connsiteX0" fmla="*/ 0 w 1543050"/>
                <a:gd name="connsiteY0" fmla="*/ 1730751 h 2462944"/>
                <a:gd name="connsiteX1" fmla="*/ 309567 w 1543050"/>
                <a:gd name="connsiteY1" fmla="*/ 1730751 h 2462944"/>
                <a:gd name="connsiteX2" fmla="*/ 309567 w 1543050"/>
                <a:gd name="connsiteY2" fmla="*/ 0 h 2462944"/>
                <a:gd name="connsiteX3" fmla="*/ 1233483 w 1543050"/>
                <a:gd name="connsiteY3" fmla="*/ 912638 h 2462944"/>
                <a:gd name="connsiteX4" fmla="*/ 1233483 w 1543050"/>
                <a:gd name="connsiteY4" fmla="*/ 1730751 h 2462944"/>
                <a:gd name="connsiteX5" fmla="*/ 1543050 w 1543050"/>
                <a:gd name="connsiteY5" fmla="*/ 1730751 h 2462944"/>
                <a:gd name="connsiteX6" fmla="*/ 771525 w 1543050"/>
                <a:gd name="connsiteY6" fmla="*/ 2462944 h 2462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3050" h="2462944">
                  <a:moveTo>
                    <a:pt x="0" y="1730751"/>
                  </a:moveTo>
                  <a:lnTo>
                    <a:pt x="309567" y="1730751"/>
                  </a:lnTo>
                  <a:lnTo>
                    <a:pt x="309567" y="0"/>
                  </a:lnTo>
                  <a:lnTo>
                    <a:pt x="1233483" y="912638"/>
                  </a:lnTo>
                  <a:lnTo>
                    <a:pt x="1233483" y="1730751"/>
                  </a:lnTo>
                  <a:lnTo>
                    <a:pt x="1543050" y="1730751"/>
                  </a:lnTo>
                  <a:lnTo>
                    <a:pt x="771525" y="2462944"/>
                  </a:lnTo>
                  <a:close/>
                </a:path>
              </a:pathLst>
            </a:custGeom>
            <a:grpFill/>
            <a:ln>
              <a:noFill/>
            </a:ln>
            <a:effectLst>
              <a:outerShdw blurRad="152400" dist="177800" dir="2700000" sx="95000" sy="95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37" name="文本框 33">
              <a:extLst>
                <a:ext uri="{FF2B5EF4-FFF2-40B4-BE49-F238E27FC236}">
                  <a16:creationId xmlns:a16="http://schemas.microsoft.com/office/drawing/2014/main" id="{BA365BFE-A347-4174-AC83-0F7CD28779D7}"/>
                </a:ext>
              </a:extLst>
            </p:cNvPr>
            <p:cNvSpPr txBox="1"/>
            <p:nvPr/>
          </p:nvSpPr>
          <p:spPr>
            <a:xfrm>
              <a:off x="6939907" y="3493671"/>
              <a:ext cx="785133" cy="5649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altLang="zh-CN" sz="1600" b="1" dirty="0">
                  <a:solidFill>
                    <a:prstClr val="white"/>
                  </a:solidFill>
                  <a:ea typeface="微软雅黑" panose="020B0503020204020204" pitchFamily="34" charset="-122"/>
                  <a:cs typeface="+mn-ea"/>
                  <a:sym typeface="+mn-lt"/>
                </a:rPr>
                <a:t>2</a:t>
              </a:r>
              <a:endParaRPr lang="zh-CN" altLang="en-US" sz="1600" b="1" dirty="0">
                <a:solidFill>
                  <a:prstClr val="white"/>
                </a:solidFill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39" name="文本框 52">
            <a:extLst>
              <a:ext uri="{FF2B5EF4-FFF2-40B4-BE49-F238E27FC236}">
                <a16:creationId xmlns:a16="http://schemas.microsoft.com/office/drawing/2014/main" id="{0C7350A1-D691-4787-8F9C-9CAFA4B2D233}"/>
              </a:ext>
            </a:extLst>
          </p:cNvPr>
          <p:cNvSpPr txBox="1"/>
          <p:nvPr/>
        </p:nvSpPr>
        <p:spPr>
          <a:xfrm>
            <a:off x="5277028" y="2552277"/>
            <a:ext cx="164756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zh-CN" sz="1400" b="1" dirty="0">
                <a:solidFill>
                  <a:schemeClr val="bg1"/>
                </a:solidFill>
                <a:ea typeface="微软雅黑" panose="020B0503020204020204" pitchFamily="34" charset="-122"/>
                <a:cs typeface="+mn-ea"/>
                <a:sym typeface="+mn-lt"/>
              </a:rPr>
              <a:t>Снижение </a:t>
            </a:r>
          </a:p>
          <a:p>
            <a:pPr algn="ctr"/>
            <a:r>
              <a:rPr lang="ru-RU" altLang="zh-CN" sz="1400" b="1" dirty="0">
                <a:solidFill>
                  <a:schemeClr val="bg1"/>
                </a:solidFill>
                <a:ea typeface="微软雅黑" panose="020B0503020204020204" pitchFamily="34" charset="-122"/>
                <a:cs typeface="+mn-ea"/>
                <a:sym typeface="+mn-lt"/>
              </a:rPr>
              <a:t>рисков чрезвычайных ситуаций</a:t>
            </a:r>
            <a:endParaRPr lang="zh-CN" altLang="en-US" sz="1400" b="1" dirty="0">
              <a:solidFill>
                <a:schemeClr val="bg1"/>
              </a:solidFill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5" name="矩形 47">
            <a:extLst>
              <a:ext uri="{FF2B5EF4-FFF2-40B4-BE49-F238E27FC236}">
                <a16:creationId xmlns:a16="http://schemas.microsoft.com/office/drawing/2014/main" id="{A6AE7C7D-A0C8-47DB-8653-E6F1049C22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7256" y="3363186"/>
            <a:ext cx="2800007" cy="2194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52" tIns="34276" rIns="68552" bIns="34276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ea typeface="微软雅黑" panose="020B0503020204020204" pitchFamily="34" charset="-122"/>
                <a:cs typeface="+mn-ea"/>
                <a:sym typeface="+mn-lt"/>
              </a:rPr>
              <a:t>Рабочие места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ea typeface="微软雅黑" panose="020B0503020204020204" pitchFamily="34" charset="-122"/>
                <a:cs typeface="+mn-ea"/>
                <a:sym typeface="+mn-lt"/>
              </a:rPr>
              <a:t>на время производства работ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zh-CN" sz="2000" dirty="0">
              <a:ea typeface="微软雅黑" panose="020B0503020204020204" pitchFamily="34" charset="-122"/>
              <a:cs typeface="+mn-ea"/>
              <a:sym typeface="+mn-lt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ea typeface="微软雅黑" panose="020B0503020204020204" pitchFamily="34" charset="-122"/>
                <a:cs typeface="+mn-ea"/>
                <a:sym typeface="+mn-lt"/>
              </a:rPr>
              <a:t>Подготовка национальных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ea typeface="微软雅黑" panose="020B0503020204020204" pitchFamily="34" charset="-122"/>
                <a:cs typeface="+mn-ea"/>
                <a:sym typeface="+mn-lt"/>
              </a:rPr>
              <a:t>кадров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zh-CN" sz="2000" dirty="0">
              <a:ea typeface="微软雅黑" panose="020B0503020204020204" pitchFamily="34" charset="-122"/>
              <a:cs typeface="+mn-ea"/>
              <a:sym typeface="+mn-lt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ea typeface="微软雅黑" panose="020B0503020204020204" pitchFamily="34" charset="-122"/>
                <a:cs typeface="+mn-ea"/>
                <a:sym typeface="+mn-lt"/>
              </a:rPr>
              <a:t>Создание транс-национальных институтов </a:t>
            </a:r>
          </a:p>
          <a:p>
            <a:pPr>
              <a:lnSpc>
                <a:spcPct val="130000"/>
              </a:lnSpc>
              <a:spcBef>
                <a:spcPct val="0"/>
              </a:spcBef>
            </a:pPr>
            <a:endParaRPr lang="en-US" altLang="zh-CN" sz="12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" name="文本框 52">
            <a:extLst>
              <a:ext uri="{FF2B5EF4-FFF2-40B4-BE49-F238E27FC236}">
                <a16:creationId xmlns:a16="http://schemas.microsoft.com/office/drawing/2014/main" id="{8148ECE8-F5AC-4CDB-9C26-9CF3238ECDA1}"/>
              </a:ext>
            </a:extLst>
          </p:cNvPr>
          <p:cNvSpPr txBox="1"/>
          <p:nvPr/>
        </p:nvSpPr>
        <p:spPr>
          <a:xfrm>
            <a:off x="6209598" y="4388738"/>
            <a:ext cx="164756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zh-CN" sz="1400" b="1" dirty="0">
                <a:solidFill>
                  <a:schemeClr val="bg1"/>
                </a:solidFill>
                <a:ea typeface="微软雅黑" panose="020B0503020204020204" pitchFamily="34" charset="-122"/>
                <a:cs typeface="+mn-ea"/>
                <a:sym typeface="+mn-lt"/>
              </a:rPr>
              <a:t>Обеспечение безопасных условий проживания</a:t>
            </a:r>
            <a:endParaRPr lang="zh-CN" altLang="en-US" sz="1400" b="1" dirty="0">
              <a:solidFill>
                <a:schemeClr val="bg1"/>
              </a:solidFill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" name="文本框 52">
            <a:extLst>
              <a:ext uri="{FF2B5EF4-FFF2-40B4-BE49-F238E27FC236}">
                <a16:creationId xmlns:a16="http://schemas.microsoft.com/office/drawing/2014/main" id="{1B250CA2-5E55-4253-AA86-F22465858C2A}"/>
              </a:ext>
            </a:extLst>
          </p:cNvPr>
          <p:cNvSpPr txBox="1"/>
          <p:nvPr/>
        </p:nvSpPr>
        <p:spPr>
          <a:xfrm>
            <a:off x="4151388" y="4479115"/>
            <a:ext cx="164756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zh-CN" sz="1400" b="1" dirty="0">
                <a:solidFill>
                  <a:schemeClr val="bg1"/>
                </a:solidFill>
                <a:ea typeface="微软雅黑" panose="020B0503020204020204" pitchFamily="34" charset="-122"/>
                <a:cs typeface="+mn-ea"/>
                <a:sym typeface="+mn-lt"/>
              </a:rPr>
              <a:t>Социальная реабилитация населения</a:t>
            </a:r>
            <a:endParaRPr lang="zh-CN" altLang="en-US" sz="1400" b="1" dirty="0">
              <a:solidFill>
                <a:schemeClr val="bg1"/>
              </a:solidFill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1" name="矩形 47">
            <a:extLst>
              <a:ext uri="{FF2B5EF4-FFF2-40B4-BE49-F238E27FC236}">
                <a16:creationId xmlns:a16="http://schemas.microsoft.com/office/drawing/2014/main" id="{11803B91-3C50-4521-805B-38F66BC27C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09141" y="1326553"/>
            <a:ext cx="3739630" cy="992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52" tIns="34276" rIns="68552" bIns="34276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2000" b="1" u="sng" dirty="0">
                <a:solidFill>
                  <a:srgbClr val="025EA1"/>
                </a:solidFill>
                <a:ea typeface="微软雅黑" panose="020B0503020204020204" pitchFamily="34" charset="-122"/>
                <a:cs typeface="+mn-ea"/>
                <a:sym typeface="+mn-lt"/>
              </a:rPr>
              <a:t>Таджикистан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2000" b="1" dirty="0">
                <a:solidFill>
                  <a:schemeClr val="bg1">
                    <a:lumMod val="50000"/>
                  </a:schemeClr>
                </a:solidFill>
                <a:ea typeface="微软雅黑" panose="020B0503020204020204" pitchFamily="34" charset="-122"/>
                <a:cs typeface="+mn-ea"/>
                <a:sym typeface="+mn-lt"/>
              </a:rPr>
              <a:t>Реабилитация территорий в районе г. </a:t>
            </a:r>
            <a:r>
              <a:rPr lang="ru-RU" altLang="zh-CN" sz="2000" b="1" dirty="0" err="1">
                <a:solidFill>
                  <a:schemeClr val="bg1">
                    <a:lumMod val="50000"/>
                  </a:schemeClr>
                </a:solidFill>
                <a:ea typeface="微软雅黑" panose="020B0503020204020204" pitchFamily="34" charset="-122"/>
                <a:cs typeface="+mn-ea"/>
                <a:sym typeface="+mn-lt"/>
              </a:rPr>
              <a:t>Истиклол</a:t>
            </a:r>
            <a:endParaRPr lang="ru-RU" altLang="zh-CN" sz="2000" b="1" dirty="0">
              <a:solidFill>
                <a:schemeClr val="bg1">
                  <a:lumMod val="50000"/>
                </a:schemeClr>
              </a:solidFill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8599732" y="4965393"/>
            <a:ext cx="244291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ea typeface="微软雅黑" panose="020B0503020204020204" pitchFamily="34" charset="-122"/>
                <a:cs typeface="+mn-ea"/>
                <a:sym typeface="+mn-lt"/>
              </a:rPr>
              <a:t>Экологический мониторинг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8614963" y="4203675"/>
            <a:ext cx="245297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ea typeface="微软雅黑" panose="020B0503020204020204" pitchFamily="34" charset="-122"/>
                <a:cs typeface="+mn-ea"/>
                <a:sym typeface="+mn-lt"/>
              </a:rPr>
              <a:t>Радиационный мониторинг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8542173" y="3374904"/>
            <a:ext cx="241765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ea typeface="微软雅黑" panose="020B0503020204020204" pitchFamily="34" charset="-122"/>
                <a:cs typeface="+mn-ea"/>
                <a:sym typeface="+mn-lt"/>
              </a:rPr>
              <a:t>Социально-гигиенический </a:t>
            </a:r>
            <a:br>
              <a:rPr lang="ru-RU" altLang="zh-CN" sz="1400" dirty="0">
                <a:ea typeface="微软雅黑" panose="020B0503020204020204" pitchFamily="34" charset="-122"/>
                <a:cs typeface="+mn-ea"/>
                <a:sym typeface="+mn-lt"/>
              </a:rPr>
            </a:br>
            <a:r>
              <a:rPr lang="ru-RU" altLang="zh-CN" sz="1400" dirty="0">
                <a:ea typeface="微软雅黑" panose="020B0503020204020204" pitchFamily="34" charset="-122"/>
                <a:cs typeface="+mn-ea"/>
                <a:sym typeface="+mn-lt"/>
              </a:rPr>
              <a:t>мониторинг </a:t>
            </a:r>
          </a:p>
        </p:txBody>
      </p:sp>
      <p:sp>
        <p:nvSpPr>
          <p:cNvPr id="81" name="Полилиния 80">
            <a:extLst>
              <a:ext uri="{FF2B5EF4-FFF2-40B4-BE49-F238E27FC236}">
                <a16:creationId xmlns:a16="http://schemas.microsoft.com/office/drawing/2014/main" id="{F3399F15-2272-D43C-AD76-0695536878C1}"/>
              </a:ext>
            </a:extLst>
          </p:cNvPr>
          <p:cNvSpPr/>
          <p:nvPr/>
        </p:nvSpPr>
        <p:spPr>
          <a:xfrm>
            <a:off x="10884625" y="260713"/>
            <a:ext cx="720000" cy="720000"/>
          </a:xfrm>
          <a:custGeom>
            <a:avLst/>
            <a:gdLst>
              <a:gd name="connsiteX0" fmla="*/ 70469 w 360606"/>
              <a:gd name="connsiteY0" fmla="*/ 240819 h 360583"/>
              <a:gd name="connsiteX1" fmla="*/ 176281 w 360606"/>
              <a:gd name="connsiteY1" fmla="*/ 247815 h 360583"/>
              <a:gd name="connsiteX2" fmla="*/ 225231 w 360606"/>
              <a:gd name="connsiteY2" fmla="*/ 252840 h 360583"/>
              <a:gd name="connsiteX3" fmla="*/ 201443 w 360606"/>
              <a:gd name="connsiteY3" fmla="*/ 359403 h 360583"/>
              <a:gd name="connsiteX4" fmla="*/ 110158 w 360606"/>
              <a:gd name="connsiteY4" fmla="*/ 346288 h 360583"/>
              <a:gd name="connsiteX5" fmla="*/ 70469 w 360606"/>
              <a:gd name="connsiteY5" fmla="*/ 240819 h 360583"/>
              <a:gd name="connsiteX6" fmla="*/ 360606 w 360606"/>
              <a:gd name="connsiteY6" fmla="*/ 195902 h 360583"/>
              <a:gd name="connsiteX7" fmla="*/ 337123 w 360606"/>
              <a:gd name="connsiteY7" fmla="*/ 270459 h 360583"/>
              <a:gd name="connsiteX8" fmla="*/ 210818 w 360606"/>
              <a:gd name="connsiteY8" fmla="*/ 358016 h 360583"/>
              <a:gd name="connsiteX9" fmla="*/ 233067 w 360606"/>
              <a:gd name="connsiteY9" fmla="*/ 258094 h 360583"/>
              <a:gd name="connsiteX10" fmla="*/ 287766 w 360606"/>
              <a:gd name="connsiteY10" fmla="*/ 253807 h 360583"/>
              <a:gd name="connsiteX11" fmla="*/ 360606 w 360606"/>
              <a:gd name="connsiteY11" fmla="*/ 195902 h 360583"/>
              <a:gd name="connsiteX12" fmla="*/ 180300 w 360606"/>
              <a:gd name="connsiteY12" fmla="*/ 142474 h 360583"/>
              <a:gd name="connsiteX13" fmla="*/ 180351 w 360606"/>
              <a:gd name="connsiteY13" fmla="*/ 142474 h 360583"/>
              <a:gd name="connsiteX14" fmla="*/ 218183 w 360606"/>
              <a:gd name="connsiteY14" fmla="*/ 180331 h 360583"/>
              <a:gd name="connsiteX15" fmla="*/ 180326 w 360606"/>
              <a:gd name="connsiteY15" fmla="*/ 218214 h 360583"/>
              <a:gd name="connsiteX16" fmla="*/ 142443 w 360606"/>
              <a:gd name="connsiteY16" fmla="*/ 180357 h 360583"/>
              <a:gd name="connsiteX17" fmla="*/ 180300 w 360606"/>
              <a:gd name="connsiteY17" fmla="*/ 142474 h 360583"/>
              <a:gd name="connsiteX18" fmla="*/ 11355 w 360606"/>
              <a:gd name="connsiteY18" fmla="*/ 117528 h 360583"/>
              <a:gd name="connsiteX19" fmla="*/ 86930 w 360606"/>
              <a:gd name="connsiteY19" fmla="*/ 186729 h 360583"/>
              <a:gd name="connsiteX20" fmla="*/ 63282 w 360606"/>
              <a:gd name="connsiteY20" fmla="*/ 236150 h 360583"/>
              <a:gd name="connsiteX21" fmla="*/ 77084 w 360606"/>
              <a:gd name="connsiteY21" fmla="*/ 328083 h 360583"/>
              <a:gd name="connsiteX22" fmla="*/ 24191 w 360606"/>
              <a:gd name="connsiteY22" fmla="*/ 270433 h 360583"/>
              <a:gd name="connsiteX23" fmla="*/ 11355 w 360606"/>
              <a:gd name="connsiteY23" fmla="*/ 117528 h 360583"/>
              <a:gd name="connsiteX24" fmla="*/ 325674 w 360606"/>
              <a:gd name="connsiteY24" fmla="*/ 72764 h 360583"/>
              <a:gd name="connsiteX25" fmla="*/ 359893 w 360606"/>
              <a:gd name="connsiteY25" fmla="*/ 158261 h 360583"/>
              <a:gd name="connsiteX26" fmla="*/ 288313 w 360606"/>
              <a:gd name="connsiteY26" fmla="*/ 245297 h 360583"/>
              <a:gd name="connsiteX27" fmla="*/ 241475 w 360606"/>
              <a:gd name="connsiteY27" fmla="*/ 150323 h 360583"/>
              <a:gd name="connsiteX28" fmla="*/ 221363 w 360606"/>
              <a:gd name="connsiteY28" fmla="*/ 105482 h 360583"/>
              <a:gd name="connsiteX29" fmla="*/ 325674 w 360606"/>
              <a:gd name="connsiteY29" fmla="*/ 72764 h 360583"/>
              <a:gd name="connsiteX30" fmla="*/ 100647 w 360606"/>
              <a:gd name="connsiteY30" fmla="*/ 25566 h 360583"/>
              <a:gd name="connsiteX31" fmla="*/ 183226 w 360606"/>
              <a:gd name="connsiteY31" fmla="*/ 54777 h 360583"/>
              <a:gd name="connsiteX32" fmla="*/ 124265 w 360606"/>
              <a:gd name="connsiteY32" fmla="*/ 142754 h 360583"/>
              <a:gd name="connsiteX33" fmla="*/ 95427 w 360606"/>
              <a:gd name="connsiteY33" fmla="*/ 182570 h 360583"/>
              <a:gd name="connsiteX34" fmla="*/ 14891 w 360606"/>
              <a:gd name="connsiteY34" fmla="*/ 108726 h 360583"/>
              <a:gd name="connsiteX35" fmla="*/ 71919 w 360606"/>
              <a:gd name="connsiteY35" fmla="*/ 36357 h 360583"/>
              <a:gd name="connsiteX36" fmla="*/ 100647 w 360606"/>
              <a:gd name="connsiteY36" fmla="*/ 25566 h 360583"/>
              <a:gd name="connsiteX37" fmla="*/ 180656 w 360606"/>
              <a:gd name="connsiteY37" fmla="*/ 0 h 360583"/>
              <a:gd name="connsiteX38" fmla="*/ 319746 w 360606"/>
              <a:gd name="connsiteY38" fmla="*/ 65309 h 360583"/>
              <a:gd name="connsiteX39" fmla="*/ 221897 w 360606"/>
              <a:gd name="connsiteY39" fmla="*/ 96055 h 360583"/>
              <a:gd name="connsiteX40" fmla="*/ 190846 w 360606"/>
              <a:gd name="connsiteY40" fmla="*/ 50934 h 360583"/>
              <a:gd name="connsiteX41" fmla="*/ 104204 w 360606"/>
              <a:gd name="connsiteY41" fmla="*/ 16906 h 360583"/>
              <a:gd name="connsiteX42" fmla="*/ 180656 w 360606"/>
              <a:gd name="connsiteY42" fmla="*/ 0 h 360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360606" h="360583">
                <a:moveTo>
                  <a:pt x="70469" y="240819"/>
                </a:moveTo>
                <a:cubicBezTo>
                  <a:pt x="97539" y="256199"/>
                  <a:pt x="138691" y="256364"/>
                  <a:pt x="176281" y="247815"/>
                </a:cubicBezTo>
                <a:cubicBezTo>
                  <a:pt x="206951" y="240819"/>
                  <a:pt x="220384" y="248490"/>
                  <a:pt x="225231" y="252840"/>
                </a:cubicBezTo>
                <a:cubicBezTo>
                  <a:pt x="187348" y="298444"/>
                  <a:pt x="197143" y="344583"/>
                  <a:pt x="201443" y="359403"/>
                </a:cubicBezTo>
                <a:cubicBezTo>
                  <a:pt x="170392" y="362961"/>
                  <a:pt x="138950" y="358442"/>
                  <a:pt x="110158" y="346288"/>
                </a:cubicBezTo>
                <a:cubicBezTo>
                  <a:pt x="71982" y="325934"/>
                  <a:pt x="60381" y="280775"/>
                  <a:pt x="70469" y="240819"/>
                </a:cubicBezTo>
                <a:close/>
                <a:moveTo>
                  <a:pt x="360606" y="195902"/>
                </a:moveTo>
                <a:cubicBezTo>
                  <a:pt x="358360" y="222179"/>
                  <a:pt x="350340" y="247636"/>
                  <a:pt x="337123" y="270459"/>
                </a:cubicBezTo>
                <a:cubicBezTo>
                  <a:pt x="310202" y="317035"/>
                  <a:pt x="263879" y="349148"/>
                  <a:pt x="210818" y="358016"/>
                </a:cubicBezTo>
                <a:cubicBezTo>
                  <a:pt x="204725" y="339012"/>
                  <a:pt x="200145" y="297033"/>
                  <a:pt x="233067" y="258094"/>
                </a:cubicBezTo>
                <a:cubicBezTo>
                  <a:pt x="253420" y="259583"/>
                  <a:pt x="271700" y="258196"/>
                  <a:pt x="287766" y="253807"/>
                </a:cubicBezTo>
                <a:cubicBezTo>
                  <a:pt x="320357" y="245284"/>
                  <a:pt x="347885" y="224193"/>
                  <a:pt x="360606" y="195902"/>
                </a:cubicBezTo>
                <a:close/>
                <a:moveTo>
                  <a:pt x="180300" y="142474"/>
                </a:moveTo>
                <a:cubicBezTo>
                  <a:pt x="180317" y="142474"/>
                  <a:pt x="180335" y="142474"/>
                  <a:pt x="180351" y="142474"/>
                </a:cubicBezTo>
                <a:cubicBezTo>
                  <a:pt x="201249" y="142488"/>
                  <a:pt x="218183" y="159433"/>
                  <a:pt x="218183" y="180331"/>
                </a:cubicBezTo>
                <a:cubicBezTo>
                  <a:pt x="218191" y="201247"/>
                  <a:pt x="201241" y="218206"/>
                  <a:pt x="180326" y="218214"/>
                </a:cubicBezTo>
                <a:cubicBezTo>
                  <a:pt x="159410" y="218220"/>
                  <a:pt x="142451" y="201271"/>
                  <a:pt x="142443" y="180357"/>
                </a:cubicBezTo>
                <a:cubicBezTo>
                  <a:pt x="142435" y="159441"/>
                  <a:pt x="159386" y="142482"/>
                  <a:pt x="180300" y="142474"/>
                </a:cubicBezTo>
                <a:close/>
                <a:moveTo>
                  <a:pt x="11355" y="117528"/>
                </a:moveTo>
                <a:cubicBezTo>
                  <a:pt x="30958" y="121777"/>
                  <a:pt x="69604" y="138797"/>
                  <a:pt x="86930" y="186729"/>
                </a:cubicBezTo>
                <a:cubicBezTo>
                  <a:pt x="75507" y="203534"/>
                  <a:pt x="67531" y="220071"/>
                  <a:pt x="63282" y="236150"/>
                </a:cubicBezTo>
                <a:cubicBezTo>
                  <a:pt x="54390" y="268588"/>
                  <a:pt x="58880" y="302973"/>
                  <a:pt x="77084" y="328083"/>
                </a:cubicBezTo>
                <a:cubicBezTo>
                  <a:pt x="55436" y="312981"/>
                  <a:pt x="37377" y="293298"/>
                  <a:pt x="24191" y="270433"/>
                </a:cubicBezTo>
                <a:cubicBezTo>
                  <a:pt x="-2731" y="223946"/>
                  <a:pt x="-7440" y="167852"/>
                  <a:pt x="11355" y="117528"/>
                </a:cubicBezTo>
                <a:close/>
                <a:moveTo>
                  <a:pt x="325674" y="72764"/>
                </a:moveTo>
                <a:cubicBezTo>
                  <a:pt x="344271" y="97831"/>
                  <a:pt x="356060" y="127286"/>
                  <a:pt x="359893" y="158261"/>
                </a:cubicBezTo>
                <a:cubicBezTo>
                  <a:pt x="361292" y="201435"/>
                  <a:pt x="327964" y="234064"/>
                  <a:pt x="288313" y="245297"/>
                </a:cubicBezTo>
                <a:cubicBezTo>
                  <a:pt x="288122" y="214207"/>
                  <a:pt x="267692" y="178551"/>
                  <a:pt x="241475" y="150323"/>
                </a:cubicBezTo>
                <a:cubicBezTo>
                  <a:pt x="220091" y="127298"/>
                  <a:pt x="220015" y="111842"/>
                  <a:pt x="221363" y="105482"/>
                </a:cubicBezTo>
                <a:cubicBezTo>
                  <a:pt x="279879" y="115442"/>
                  <a:pt x="314963" y="83895"/>
                  <a:pt x="325674" y="72764"/>
                </a:cubicBezTo>
                <a:close/>
                <a:moveTo>
                  <a:pt x="100647" y="25566"/>
                </a:moveTo>
                <a:cubicBezTo>
                  <a:pt x="130180" y="20809"/>
                  <a:pt x="161025" y="33253"/>
                  <a:pt x="183226" y="54777"/>
                </a:cubicBezTo>
                <a:cubicBezTo>
                  <a:pt x="156360" y="70487"/>
                  <a:pt x="135637" y="105978"/>
                  <a:pt x="124265" y="142754"/>
                </a:cubicBezTo>
                <a:cubicBezTo>
                  <a:pt x="114991" y="172775"/>
                  <a:pt x="101622" y="180548"/>
                  <a:pt x="95427" y="182570"/>
                </a:cubicBezTo>
                <a:cubicBezTo>
                  <a:pt x="74819" y="127006"/>
                  <a:pt x="29889" y="112415"/>
                  <a:pt x="14891" y="108726"/>
                </a:cubicBezTo>
                <a:cubicBezTo>
                  <a:pt x="27329" y="80081"/>
                  <a:pt x="46977" y="55148"/>
                  <a:pt x="71919" y="36357"/>
                </a:cubicBezTo>
                <a:cubicBezTo>
                  <a:pt x="81103" y="30648"/>
                  <a:pt x="90802" y="27152"/>
                  <a:pt x="100647" y="25566"/>
                </a:cubicBezTo>
                <a:close/>
                <a:moveTo>
                  <a:pt x="180656" y="0"/>
                </a:moveTo>
                <a:cubicBezTo>
                  <a:pt x="234439" y="-61"/>
                  <a:pt x="285442" y="23887"/>
                  <a:pt x="319746" y="65309"/>
                </a:cubicBezTo>
                <a:cubicBezTo>
                  <a:pt x="306300" y="80141"/>
                  <a:pt x="272246" y="105036"/>
                  <a:pt x="221897" y="96055"/>
                </a:cubicBezTo>
                <a:cubicBezTo>
                  <a:pt x="213069" y="77801"/>
                  <a:pt x="202689" y="62638"/>
                  <a:pt x="190846" y="50934"/>
                </a:cubicBezTo>
                <a:cubicBezTo>
                  <a:pt x="167159" y="27083"/>
                  <a:pt x="135090" y="13726"/>
                  <a:pt x="104204" y="16906"/>
                </a:cubicBezTo>
                <a:cubicBezTo>
                  <a:pt x="128142" y="5738"/>
                  <a:pt x="154241" y="-34"/>
                  <a:pt x="180656" y="0"/>
                </a:cubicBezTo>
                <a:close/>
              </a:path>
            </a:pathLst>
          </a:custGeom>
          <a:solidFill>
            <a:schemeClr val="accent2"/>
          </a:solidFill>
          <a:ln w="124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82" name="TextBox 81"/>
          <p:cNvSpPr txBox="1"/>
          <p:nvPr/>
        </p:nvSpPr>
        <p:spPr>
          <a:xfrm>
            <a:off x="10648965" y="1006909"/>
            <a:ext cx="119131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500" b="1" dirty="0"/>
              <a:t>РОС</a:t>
            </a:r>
            <a:r>
              <a:rPr lang="ru-RU" sz="1500" dirty="0"/>
              <a:t>АТОМ</a:t>
            </a:r>
          </a:p>
        </p:txBody>
      </p:sp>
      <p:cxnSp>
        <p:nvCxnSpPr>
          <p:cNvPr id="4" name="Соединительная линия уступом 25">
            <a:extLst>
              <a:ext uri="{FF2B5EF4-FFF2-40B4-BE49-F238E27FC236}">
                <a16:creationId xmlns:a16="http://schemas.microsoft.com/office/drawing/2014/main" id="{FEBE5208-9553-B3F5-AA35-DFBCF5D12946}"/>
              </a:ext>
            </a:extLst>
          </p:cNvPr>
          <p:cNvCxnSpPr>
            <a:cxnSpLocks/>
          </p:cNvCxnSpPr>
          <p:nvPr/>
        </p:nvCxnSpPr>
        <p:spPr bwMode="auto">
          <a:xfrm rot="10800000">
            <a:off x="594607" y="2945521"/>
            <a:ext cx="3643918" cy="1524689"/>
          </a:xfrm>
          <a:prstGeom prst="bentConnector3">
            <a:avLst>
              <a:gd name="adj1" fmla="val 5291"/>
            </a:avLst>
          </a:prstGeom>
          <a:ln w="19050">
            <a:solidFill>
              <a:srgbClr val="04609E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矩形 47">
            <a:extLst>
              <a:ext uri="{FF2B5EF4-FFF2-40B4-BE49-F238E27FC236}">
                <a16:creationId xmlns:a16="http://schemas.microsoft.com/office/drawing/2014/main" id="{E351EB20-6C5C-E206-B61D-7C2AA28EB6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5315" y="1276151"/>
            <a:ext cx="4539803" cy="992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52" tIns="34276" rIns="68552" bIns="34276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2000" b="1" u="sng" dirty="0">
                <a:solidFill>
                  <a:srgbClr val="025EA1"/>
                </a:solidFill>
                <a:ea typeface="微软雅黑" panose="020B0503020204020204" pitchFamily="34" charset="-122"/>
                <a:cs typeface="+mn-ea"/>
                <a:sym typeface="+mn-lt"/>
              </a:rPr>
              <a:t>Киргизия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2000" b="1" dirty="0">
                <a:solidFill>
                  <a:schemeClr val="bg1">
                    <a:lumMod val="50000"/>
                  </a:schemeClr>
                </a:solidFill>
                <a:ea typeface="微软雅黑" panose="020B0503020204020204" pitchFamily="34" charset="-122"/>
                <a:cs typeface="+mn-ea"/>
                <a:sym typeface="+mn-lt"/>
              </a:rPr>
              <a:t>Реабилитация территорий в районе п. Мин-Куш и п. Каджи-Сай</a:t>
            </a:r>
          </a:p>
        </p:txBody>
      </p:sp>
      <p:grpSp>
        <p:nvGrpSpPr>
          <p:cNvPr id="59" name="Группа 58">
            <a:extLst>
              <a:ext uri="{FF2B5EF4-FFF2-40B4-BE49-F238E27FC236}">
                <a16:creationId xmlns:a16="http://schemas.microsoft.com/office/drawing/2014/main" id="{FED9DCC4-6290-9710-E0FB-30BE8DEFB9BF}"/>
              </a:ext>
            </a:extLst>
          </p:cNvPr>
          <p:cNvGrpSpPr/>
          <p:nvPr/>
        </p:nvGrpSpPr>
        <p:grpSpPr>
          <a:xfrm>
            <a:off x="419524" y="3369008"/>
            <a:ext cx="470784" cy="494389"/>
            <a:chOff x="2929155" y="4583967"/>
            <a:chExt cx="719999" cy="720000"/>
          </a:xfrm>
        </p:grpSpPr>
        <p:pic>
          <p:nvPicPr>
            <p:cNvPr id="60" name="Рисунок 59">
              <a:extLst>
                <a:ext uri="{FF2B5EF4-FFF2-40B4-BE49-F238E27FC236}">
                  <a16:creationId xmlns:a16="http://schemas.microsoft.com/office/drawing/2014/main" id="{4A68DD00-38B7-1F31-75CE-680C6F58DD0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/>
            <a:stretch/>
          </p:blipFill>
          <p:spPr>
            <a:xfrm>
              <a:off x="2929155" y="4583967"/>
              <a:ext cx="719999" cy="720000"/>
            </a:xfrm>
            <a:prstGeom prst="rect">
              <a:avLst/>
            </a:prstGeom>
          </p:spPr>
        </p:pic>
        <p:sp>
          <p:nvSpPr>
            <p:cNvPr id="61" name="Полилиния 178">
              <a:extLst>
                <a:ext uri="{FF2B5EF4-FFF2-40B4-BE49-F238E27FC236}">
                  <a16:creationId xmlns:a16="http://schemas.microsoft.com/office/drawing/2014/main" id="{F1E2CAB6-F0E3-4FC9-A38E-E4658DA14657}"/>
                </a:ext>
              </a:extLst>
            </p:cNvPr>
            <p:cNvSpPr/>
            <p:nvPr/>
          </p:nvSpPr>
          <p:spPr>
            <a:xfrm>
              <a:off x="3065403" y="4749594"/>
              <a:ext cx="455947" cy="438270"/>
            </a:xfrm>
            <a:custGeom>
              <a:avLst/>
              <a:gdLst>
                <a:gd name="connsiteX0" fmla="*/ 148131 w 455947"/>
                <a:gd name="connsiteY0" fmla="*/ 343553 h 438270"/>
                <a:gd name="connsiteX1" fmla="*/ 148131 w 455947"/>
                <a:gd name="connsiteY1" fmla="*/ 349984 h 438270"/>
                <a:gd name="connsiteX2" fmla="*/ 176810 w 455947"/>
                <a:gd name="connsiteY2" fmla="*/ 349984 h 438270"/>
                <a:gd name="connsiteX3" fmla="*/ 176810 w 455947"/>
                <a:gd name="connsiteY3" fmla="*/ 343553 h 438270"/>
                <a:gd name="connsiteX4" fmla="*/ 55967 w 455947"/>
                <a:gd name="connsiteY4" fmla="*/ 264179 h 438270"/>
                <a:gd name="connsiteX5" fmla="*/ 107033 w 455947"/>
                <a:gd name="connsiteY5" fmla="*/ 299108 h 438270"/>
                <a:gd name="connsiteX6" fmla="*/ 107033 w 455947"/>
                <a:gd name="connsiteY6" fmla="*/ 409836 h 438270"/>
                <a:gd name="connsiteX7" fmla="*/ 0 w 455947"/>
                <a:gd name="connsiteY7" fmla="*/ 295378 h 438270"/>
                <a:gd name="connsiteX8" fmla="*/ 164547 w 455947"/>
                <a:gd name="connsiteY8" fmla="*/ 263909 h 438270"/>
                <a:gd name="connsiteX9" fmla="*/ 228199 w 455947"/>
                <a:gd name="connsiteY9" fmla="*/ 299378 h 438270"/>
                <a:gd name="connsiteX10" fmla="*/ 230765 w 455947"/>
                <a:gd name="connsiteY10" fmla="*/ 302400 h 438270"/>
                <a:gd name="connsiteX11" fmla="*/ 280864 w 455947"/>
                <a:gd name="connsiteY11" fmla="*/ 431107 h 438270"/>
                <a:gd name="connsiteX12" fmla="*/ 221829 w 455947"/>
                <a:gd name="connsiteY12" fmla="*/ 438270 h 438270"/>
                <a:gd name="connsiteX13" fmla="*/ 216206 w 455947"/>
                <a:gd name="connsiteY13" fmla="*/ 438193 h 438270"/>
                <a:gd name="connsiteX14" fmla="*/ 195419 w 455947"/>
                <a:gd name="connsiteY14" fmla="*/ 383356 h 438270"/>
                <a:gd name="connsiteX15" fmla="*/ 193649 w 455947"/>
                <a:gd name="connsiteY15" fmla="*/ 382106 h 438270"/>
                <a:gd name="connsiteX16" fmla="*/ 191718 w 455947"/>
                <a:gd name="connsiteY16" fmla="*/ 383987 h 438270"/>
                <a:gd name="connsiteX17" fmla="*/ 190428 w 455947"/>
                <a:gd name="connsiteY17" fmla="*/ 436290 h 438270"/>
                <a:gd name="connsiteX18" fmla="*/ 113532 w 455947"/>
                <a:gd name="connsiteY18" fmla="*/ 413141 h 438270"/>
                <a:gd name="connsiteX19" fmla="*/ 113532 w 455947"/>
                <a:gd name="connsiteY19" fmla="*/ 298966 h 438270"/>
                <a:gd name="connsiteX20" fmla="*/ 164547 w 455947"/>
                <a:gd name="connsiteY20" fmla="*/ 263909 h 438270"/>
                <a:gd name="connsiteX21" fmla="*/ 78663 w 455947"/>
                <a:gd name="connsiteY21" fmla="*/ 237931 h 438270"/>
                <a:gd name="connsiteX22" fmla="*/ 110528 w 455947"/>
                <a:gd name="connsiteY22" fmla="*/ 247100 h 438270"/>
                <a:gd name="connsiteX23" fmla="*/ 142509 w 455947"/>
                <a:gd name="connsiteY23" fmla="*/ 239384 h 438270"/>
                <a:gd name="connsiteX24" fmla="*/ 142509 w 455947"/>
                <a:gd name="connsiteY24" fmla="*/ 248309 h 438270"/>
                <a:gd name="connsiteX25" fmla="*/ 145397 w 455947"/>
                <a:gd name="connsiteY25" fmla="*/ 253248 h 438270"/>
                <a:gd name="connsiteX26" fmla="*/ 158809 w 455947"/>
                <a:gd name="connsiteY26" fmla="*/ 260720 h 438270"/>
                <a:gd name="connsiteX27" fmla="*/ 110270 w 455947"/>
                <a:gd name="connsiteY27" fmla="*/ 292626 h 438270"/>
                <a:gd name="connsiteX28" fmla="*/ 61860 w 455947"/>
                <a:gd name="connsiteY28" fmla="*/ 260874 h 438270"/>
                <a:gd name="connsiteX29" fmla="*/ 75761 w 455947"/>
                <a:gd name="connsiteY29" fmla="*/ 253158 h 438270"/>
                <a:gd name="connsiteX30" fmla="*/ 78663 w 455947"/>
                <a:gd name="connsiteY30" fmla="*/ 248219 h 438270"/>
                <a:gd name="connsiteX31" fmla="*/ 282902 w 455947"/>
                <a:gd name="connsiteY31" fmla="*/ 234446 h 438270"/>
                <a:gd name="connsiteX32" fmla="*/ 334123 w 455947"/>
                <a:gd name="connsiteY32" fmla="*/ 270082 h 438270"/>
                <a:gd name="connsiteX33" fmla="*/ 334136 w 455947"/>
                <a:gd name="connsiteY33" fmla="*/ 411212 h 438270"/>
                <a:gd name="connsiteX34" fmla="*/ 333465 w 455947"/>
                <a:gd name="connsiteY34" fmla="*/ 411559 h 438270"/>
                <a:gd name="connsiteX35" fmla="*/ 332395 w 455947"/>
                <a:gd name="connsiteY35" fmla="*/ 412074 h 438270"/>
                <a:gd name="connsiteX36" fmla="*/ 330744 w 455947"/>
                <a:gd name="connsiteY36" fmla="*/ 412897 h 438270"/>
                <a:gd name="connsiteX37" fmla="*/ 330035 w 455947"/>
                <a:gd name="connsiteY37" fmla="*/ 413231 h 438270"/>
                <a:gd name="connsiteX38" fmla="*/ 329493 w 455947"/>
                <a:gd name="connsiteY38" fmla="*/ 413488 h 438270"/>
                <a:gd name="connsiteX39" fmla="*/ 328036 w 455947"/>
                <a:gd name="connsiteY39" fmla="*/ 414183 h 438270"/>
                <a:gd name="connsiteX40" fmla="*/ 327727 w 455947"/>
                <a:gd name="connsiteY40" fmla="*/ 414324 h 438270"/>
                <a:gd name="connsiteX41" fmla="*/ 326656 w 455947"/>
                <a:gd name="connsiteY41" fmla="*/ 414826 h 438270"/>
                <a:gd name="connsiteX42" fmla="*/ 322556 w 455947"/>
                <a:gd name="connsiteY42" fmla="*/ 416665 h 438270"/>
                <a:gd name="connsiteX43" fmla="*/ 318390 w 455947"/>
                <a:gd name="connsiteY43" fmla="*/ 418453 h 438270"/>
                <a:gd name="connsiteX44" fmla="*/ 317965 w 455947"/>
                <a:gd name="connsiteY44" fmla="*/ 418633 h 438270"/>
                <a:gd name="connsiteX45" fmla="*/ 316185 w 455947"/>
                <a:gd name="connsiteY45" fmla="*/ 419353 h 438270"/>
                <a:gd name="connsiteX46" fmla="*/ 313606 w 455947"/>
                <a:gd name="connsiteY46" fmla="*/ 420395 h 438270"/>
                <a:gd name="connsiteX47" fmla="*/ 313490 w 455947"/>
                <a:gd name="connsiteY47" fmla="*/ 420395 h 438270"/>
                <a:gd name="connsiteX48" fmla="*/ 311014 w 455947"/>
                <a:gd name="connsiteY48" fmla="*/ 421346 h 438270"/>
                <a:gd name="connsiteX49" fmla="*/ 306888 w 455947"/>
                <a:gd name="connsiteY49" fmla="*/ 422877 h 438270"/>
                <a:gd name="connsiteX50" fmla="*/ 305185 w 455947"/>
                <a:gd name="connsiteY50" fmla="*/ 423468 h 438270"/>
                <a:gd name="connsiteX51" fmla="*/ 303341 w 455947"/>
                <a:gd name="connsiteY51" fmla="*/ 424111 h 438270"/>
                <a:gd name="connsiteX52" fmla="*/ 298996 w 455947"/>
                <a:gd name="connsiteY52" fmla="*/ 425552 h 438270"/>
                <a:gd name="connsiteX53" fmla="*/ 297977 w 455947"/>
                <a:gd name="connsiteY53" fmla="*/ 425860 h 438270"/>
                <a:gd name="connsiteX54" fmla="*/ 246962 w 455947"/>
                <a:gd name="connsiteY54" fmla="*/ 294684 h 438270"/>
                <a:gd name="connsiteX55" fmla="*/ 237742 w 455947"/>
                <a:gd name="connsiteY55" fmla="*/ 283984 h 438270"/>
                <a:gd name="connsiteX56" fmla="*/ 217109 w 455947"/>
                <a:gd name="connsiteY56" fmla="*/ 272487 h 438270"/>
                <a:gd name="connsiteX57" fmla="*/ 219572 w 455947"/>
                <a:gd name="connsiteY57" fmla="*/ 269748 h 438270"/>
                <a:gd name="connsiteX58" fmla="*/ 391908 w 455947"/>
                <a:gd name="connsiteY58" fmla="*/ 234124 h 438270"/>
                <a:gd name="connsiteX59" fmla="*/ 455934 w 455947"/>
                <a:gd name="connsiteY59" fmla="*/ 269812 h 438270"/>
                <a:gd name="connsiteX60" fmla="*/ 455947 w 455947"/>
                <a:gd name="connsiteY60" fmla="*/ 269940 h 438270"/>
                <a:gd name="connsiteX61" fmla="*/ 455419 w 455947"/>
                <a:gd name="connsiteY61" fmla="*/ 271535 h 438270"/>
                <a:gd name="connsiteX62" fmla="*/ 455148 w 455947"/>
                <a:gd name="connsiteY62" fmla="*/ 272319 h 438270"/>
                <a:gd name="connsiteX63" fmla="*/ 454245 w 455947"/>
                <a:gd name="connsiteY63" fmla="*/ 274891 h 438270"/>
                <a:gd name="connsiteX64" fmla="*/ 454245 w 455947"/>
                <a:gd name="connsiteY64" fmla="*/ 274981 h 438270"/>
                <a:gd name="connsiteX65" fmla="*/ 454245 w 455947"/>
                <a:gd name="connsiteY65" fmla="*/ 275084 h 438270"/>
                <a:gd name="connsiteX66" fmla="*/ 454245 w 455947"/>
                <a:gd name="connsiteY66" fmla="*/ 275174 h 438270"/>
                <a:gd name="connsiteX67" fmla="*/ 454052 w 455947"/>
                <a:gd name="connsiteY67" fmla="*/ 275702 h 438270"/>
                <a:gd name="connsiteX68" fmla="*/ 453807 w 455947"/>
                <a:gd name="connsiteY68" fmla="*/ 276370 h 438270"/>
                <a:gd name="connsiteX69" fmla="*/ 452401 w 455947"/>
                <a:gd name="connsiteY69" fmla="*/ 280151 h 438270"/>
                <a:gd name="connsiteX70" fmla="*/ 452311 w 455947"/>
                <a:gd name="connsiteY70" fmla="*/ 280409 h 438270"/>
                <a:gd name="connsiteX71" fmla="*/ 451846 w 455947"/>
                <a:gd name="connsiteY71" fmla="*/ 281617 h 438270"/>
                <a:gd name="connsiteX72" fmla="*/ 450428 w 455947"/>
                <a:gd name="connsiteY72" fmla="*/ 285193 h 438270"/>
                <a:gd name="connsiteX73" fmla="*/ 449809 w 455947"/>
                <a:gd name="connsiteY73" fmla="*/ 286684 h 438270"/>
                <a:gd name="connsiteX74" fmla="*/ 448739 w 455947"/>
                <a:gd name="connsiteY74" fmla="*/ 289257 h 438270"/>
                <a:gd name="connsiteX75" fmla="*/ 448416 w 455947"/>
                <a:gd name="connsiteY75" fmla="*/ 290015 h 438270"/>
                <a:gd name="connsiteX76" fmla="*/ 447475 w 455947"/>
                <a:gd name="connsiteY76" fmla="*/ 292150 h 438270"/>
                <a:gd name="connsiteX77" fmla="*/ 447333 w 455947"/>
                <a:gd name="connsiteY77" fmla="*/ 292472 h 438270"/>
                <a:gd name="connsiteX78" fmla="*/ 446959 w 455947"/>
                <a:gd name="connsiteY78" fmla="*/ 293295 h 438270"/>
                <a:gd name="connsiteX79" fmla="*/ 446598 w 455947"/>
                <a:gd name="connsiteY79" fmla="*/ 294105 h 438270"/>
                <a:gd name="connsiteX80" fmla="*/ 446198 w 455947"/>
                <a:gd name="connsiteY80" fmla="*/ 294967 h 438270"/>
                <a:gd name="connsiteX81" fmla="*/ 446005 w 455947"/>
                <a:gd name="connsiteY81" fmla="*/ 295391 h 438270"/>
                <a:gd name="connsiteX82" fmla="*/ 441801 w 455947"/>
                <a:gd name="connsiteY82" fmla="*/ 304046 h 438270"/>
                <a:gd name="connsiteX83" fmla="*/ 441195 w 455947"/>
                <a:gd name="connsiteY83" fmla="*/ 305229 h 438270"/>
                <a:gd name="connsiteX84" fmla="*/ 440769 w 455947"/>
                <a:gd name="connsiteY84" fmla="*/ 306039 h 438270"/>
                <a:gd name="connsiteX85" fmla="*/ 440331 w 455947"/>
                <a:gd name="connsiteY85" fmla="*/ 306875 h 438270"/>
                <a:gd name="connsiteX86" fmla="*/ 440047 w 455947"/>
                <a:gd name="connsiteY86" fmla="*/ 307390 h 438270"/>
                <a:gd name="connsiteX87" fmla="*/ 439944 w 455947"/>
                <a:gd name="connsiteY87" fmla="*/ 307595 h 438270"/>
                <a:gd name="connsiteX88" fmla="*/ 439944 w 455947"/>
                <a:gd name="connsiteY88" fmla="*/ 307685 h 438270"/>
                <a:gd name="connsiteX89" fmla="*/ 439325 w 455947"/>
                <a:gd name="connsiteY89" fmla="*/ 308830 h 438270"/>
                <a:gd name="connsiteX90" fmla="*/ 438899 w 455947"/>
                <a:gd name="connsiteY90" fmla="*/ 309615 h 438270"/>
                <a:gd name="connsiteX91" fmla="*/ 437893 w 455947"/>
                <a:gd name="connsiteY91" fmla="*/ 311454 h 438270"/>
                <a:gd name="connsiteX92" fmla="*/ 437068 w 455947"/>
                <a:gd name="connsiteY92" fmla="*/ 312920 h 438270"/>
                <a:gd name="connsiteX93" fmla="*/ 436514 w 455947"/>
                <a:gd name="connsiteY93" fmla="*/ 313884 h 438270"/>
                <a:gd name="connsiteX94" fmla="*/ 436243 w 455947"/>
                <a:gd name="connsiteY94" fmla="*/ 314373 h 438270"/>
                <a:gd name="connsiteX95" fmla="*/ 433664 w 455947"/>
                <a:gd name="connsiteY95" fmla="*/ 318681 h 438270"/>
                <a:gd name="connsiteX96" fmla="*/ 432916 w 455947"/>
                <a:gd name="connsiteY96" fmla="*/ 319967 h 438270"/>
                <a:gd name="connsiteX97" fmla="*/ 432697 w 455947"/>
                <a:gd name="connsiteY97" fmla="*/ 320327 h 438270"/>
                <a:gd name="connsiteX98" fmla="*/ 432129 w 455947"/>
                <a:gd name="connsiteY98" fmla="*/ 321240 h 438270"/>
                <a:gd name="connsiteX99" fmla="*/ 429486 w 455947"/>
                <a:gd name="connsiteY99" fmla="*/ 325433 h 438270"/>
                <a:gd name="connsiteX100" fmla="*/ 429163 w 455947"/>
                <a:gd name="connsiteY100" fmla="*/ 325934 h 438270"/>
                <a:gd name="connsiteX101" fmla="*/ 427487 w 455947"/>
                <a:gd name="connsiteY101" fmla="*/ 328506 h 438270"/>
                <a:gd name="connsiteX102" fmla="*/ 426687 w 455947"/>
                <a:gd name="connsiteY102" fmla="*/ 329690 h 438270"/>
                <a:gd name="connsiteX103" fmla="*/ 426326 w 455947"/>
                <a:gd name="connsiteY103" fmla="*/ 330230 h 438270"/>
                <a:gd name="connsiteX104" fmla="*/ 425243 w 455947"/>
                <a:gd name="connsiteY104" fmla="*/ 331799 h 438270"/>
                <a:gd name="connsiteX105" fmla="*/ 424869 w 455947"/>
                <a:gd name="connsiteY105" fmla="*/ 332352 h 438270"/>
                <a:gd name="connsiteX106" fmla="*/ 423038 w 455947"/>
                <a:gd name="connsiteY106" fmla="*/ 334924 h 438270"/>
                <a:gd name="connsiteX107" fmla="*/ 414578 w 455947"/>
                <a:gd name="connsiteY107" fmla="*/ 346035 h 438270"/>
                <a:gd name="connsiteX108" fmla="*/ 414011 w 455947"/>
                <a:gd name="connsiteY108" fmla="*/ 346730 h 438270"/>
                <a:gd name="connsiteX109" fmla="*/ 411367 w 455947"/>
                <a:gd name="connsiteY109" fmla="*/ 349932 h 438270"/>
                <a:gd name="connsiteX110" fmla="*/ 410594 w 455947"/>
                <a:gd name="connsiteY110" fmla="*/ 350858 h 438270"/>
                <a:gd name="connsiteX111" fmla="*/ 409910 w 455947"/>
                <a:gd name="connsiteY111" fmla="*/ 351655 h 438270"/>
                <a:gd name="connsiteX112" fmla="*/ 409459 w 455947"/>
                <a:gd name="connsiteY112" fmla="*/ 352195 h 438270"/>
                <a:gd name="connsiteX113" fmla="*/ 408659 w 455947"/>
                <a:gd name="connsiteY113" fmla="*/ 353121 h 438270"/>
                <a:gd name="connsiteX114" fmla="*/ 407370 w 455947"/>
                <a:gd name="connsiteY114" fmla="*/ 354652 h 438270"/>
                <a:gd name="connsiteX115" fmla="*/ 406802 w 455947"/>
                <a:gd name="connsiteY115" fmla="*/ 355295 h 438270"/>
                <a:gd name="connsiteX116" fmla="*/ 404675 w 455947"/>
                <a:gd name="connsiteY116" fmla="*/ 357661 h 438270"/>
                <a:gd name="connsiteX117" fmla="*/ 403707 w 455947"/>
                <a:gd name="connsiteY117" fmla="*/ 358690 h 438270"/>
                <a:gd name="connsiteX118" fmla="*/ 403192 w 455947"/>
                <a:gd name="connsiteY118" fmla="*/ 359243 h 438270"/>
                <a:gd name="connsiteX119" fmla="*/ 402895 w 455947"/>
                <a:gd name="connsiteY119" fmla="*/ 359564 h 438270"/>
                <a:gd name="connsiteX120" fmla="*/ 402070 w 455947"/>
                <a:gd name="connsiteY120" fmla="*/ 360452 h 438270"/>
                <a:gd name="connsiteX121" fmla="*/ 401747 w 455947"/>
                <a:gd name="connsiteY121" fmla="*/ 360799 h 438270"/>
                <a:gd name="connsiteX122" fmla="*/ 401567 w 455947"/>
                <a:gd name="connsiteY122" fmla="*/ 360992 h 438270"/>
                <a:gd name="connsiteX123" fmla="*/ 397311 w 455947"/>
                <a:gd name="connsiteY123" fmla="*/ 365364 h 438270"/>
                <a:gd name="connsiteX124" fmla="*/ 396512 w 455947"/>
                <a:gd name="connsiteY124" fmla="*/ 366162 h 438270"/>
                <a:gd name="connsiteX125" fmla="*/ 393546 w 455947"/>
                <a:gd name="connsiteY125" fmla="*/ 369055 h 438270"/>
                <a:gd name="connsiteX126" fmla="*/ 390838 w 455947"/>
                <a:gd name="connsiteY126" fmla="*/ 371627 h 438270"/>
                <a:gd name="connsiteX127" fmla="*/ 390038 w 455947"/>
                <a:gd name="connsiteY127" fmla="*/ 372360 h 438270"/>
                <a:gd name="connsiteX128" fmla="*/ 389767 w 455947"/>
                <a:gd name="connsiteY128" fmla="*/ 372618 h 438270"/>
                <a:gd name="connsiteX129" fmla="*/ 389651 w 455947"/>
                <a:gd name="connsiteY129" fmla="*/ 372721 h 438270"/>
                <a:gd name="connsiteX130" fmla="*/ 386324 w 455947"/>
                <a:gd name="connsiteY130" fmla="*/ 375730 h 438270"/>
                <a:gd name="connsiteX131" fmla="*/ 385770 w 455947"/>
                <a:gd name="connsiteY131" fmla="*/ 376231 h 438270"/>
                <a:gd name="connsiteX132" fmla="*/ 384803 w 455947"/>
                <a:gd name="connsiteY132" fmla="*/ 377067 h 438270"/>
                <a:gd name="connsiteX133" fmla="*/ 383668 w 455947"/>
                <a:gd name="connsiteY133" fmla="*/ 378045 h 438270"/>
                <a:gd name="connsiteX134" fmla="*/ 382817 w 455947"/>
                <a:gd name="connsiteY134" fmla="*/ 378778 h 438270"/>
                <a:gd name="connsiteX135" fmla="*/ 381398 w 455947"/>
                <a:gd name="connsiteY135" fmla="*/ 379987 h 438270"/>
                <a:gd name="connsiteX136" fmla="*/ 377207 w 455947"/>
                <a:gd name="connsiteY136" fmla="*/ 383420 h 438270"/>
                <a:gd name="connsiteX137" fmla="*/ 376640 w 455947"/>
                <a:gd name="connsiteY137" fmla="*/ 383845 h 438270"/>
                <a:gd name="connsiteX138" fmla="*/ 374821 w 455947"/>
                <a:gd name="connsiteY138" fmla="*/ 385285 h 438270"/>
                <a:gd name="connsiteX139" fmla="*/ 372449 w 455947"/>
                <a:gd name="connsiteY139" fmla="*/ 387124 h 438270"/>
                <a:gd name="connsiteX140" fmla="*/ 372294 w 455947"/>
                <a:gd name="connsiteY140" fmla="*/ 387240 h 438270"/>
                <a:gd name="connsiteX141" fmla="*/ 369521 w 455947"/>
                <a:gd name="connsiteY141" fmla="*/ 389323 h 438270"/>
                <a:gd name="connsiteX142" fmla="*/ 366839 w 455947"/>
                <a:gd name="connsiteY142" fmla="*/ 391291 h 438270"/>
                <a:gd name="connsiteX143" fmla="*/ 364827 w 455947"/>
                <a:gd name="connsiteY143" fmla="*/ 392718 h 438270"/>
                <a:gd name="connsiteX144" fmla="*/ 364080 w 455947"/>
                <a:gd name="connsiteY144" fmla="*/ 393246 h 438270"/>
                <a:gd name="connsiteX145" fmla="*/ 363912 w 455947"/>
                <a:gd name="connsiteY145" fmla="*/ 393374 h 438270"/>
                <a:gd name="connsiteX146" fmla="*/ 361178 w 455947"/>
                <a:gd name="connsiteY146" fmla="*/ 395252 h 438270"/>
                <a:gd name="connsiteX147" fmla="*/ 361114 w 455947"/>
                <a:gd name="connsiteY147" fmla="*/ 395252 h 438270"/>
                <a:gd name="connsiteX148" fmla="*/ 358161 w 455947"/>
                <a:gd name="connsiteY148" fmla="*/ 397232 h 438270"/>
                <a:gd name="connsiteX149" fmla="*/ 357413 w 455947"/>
                <a:gd name="connsiteY149" fmla="*/ 397708 h 438270"/>
                <a:gd name="connsiteX150" fmla="*/ 354395 w 455947"/>
                <a:gd name="connsiteY150" fmla="*/ 399676 h 438270"/>
                <a:gd name="connsiteX151" fmla="*/ 353969 w 455947"/>
                <a:gd name="connsiteY151" fmla="*/ 399946 h 438270"/>
                <a:gd name="connsiteX152" fmla="*/ 353841 w 455947"/>
                <a:gd name="connsiteY152" fmla="*/ 400036 h 438270"/>
                <a:gd name="connsiteX153" fmla="*/ 353570 w 455947"/>
                <a:gd name="connsiteY153" fmla="*/ 400203 h 438270"/>
                <a:gd name="connsiteX154" fmla="*/ 351739 w 455947"/>
                <a:gd name="connsiteY154" fmla="*/ 401335 h 438270"/>
                <a:gd name="connsiteX155" fmla="*/ 350965 w 455947"/>
                <a:gd name="connsiteY155" fmla="*/ 401811 h 438270"/>
                <a:gd name="connsiteX156" fmla="*/ 350797 w 455947"/>
                <a:gd name="connsiteY156" fmla="*/ 401914 h 438270"/>
                <a:gd name="connsiteX157" fmla="*/ 349920 w 455947"/>
                <a:gd name="connsiteY157" fmla="*/ 402441 h 438270"/>
                <a:gd name="connsiteX158" fmla="*/ 346052 w 455947"/>
                <a:gd name="connsiteY158" fmla="*/ 404679 h 438270"/>
                <a:gd name="connsiteX159" fmla="*/ 345858 w 455947"/>
                <a:gd name="connsiteY159" fmla="*/ 404781 h 438270"/>
                <a:gd name="connsiteX160" fmla="*/ 344569 w 455947"/>
                <a:gd name="connsiteY160" fmla="*/ 405540 h 438270"/>
                <a:gd name="connsiteX161" fmla="*/ 344040 w 455947"/>
                <a:gd name="connsiteY161" fmla="*/ 405836 h 438270"/>
                <a:gd name="connsiteX162" fmla="*/ 343060 w 455947"/>
                <a:gd name="connsiteY162" fmla="*/ 406376 h 438270"/>
                <a:gd name="connsiteX163" fmla="*/ 341770 w 455947"/>
                <a:gd name="connsiteY163" fmla="*/ 407084 h 438270"/>
                <a:gd name="connsiteX164" fmla="*/ 340571 w 455947"/>
                <a:gd name="connsiteY164" fmla="*/ 407739 h 438270"/>
                <a:gd name="connsiteX165" fmla="*/ 340571 w 455947"/>
                <a:gd name="connsiteY165" fmla="*/ 270133 h 438270"/>
                <a:gd name="connsiteX166" fmla="*/ 391908 w 455947"/>
                <a:gd name="connsiteY166" fmla="*/ 234124 h 438270"/>
                <a:gd name="connsiteX167" fmla="*/ 305250 w 455947"/>
                <a:gd name="connsiteY167" fmla="*/ 208017 h 438270"/>
                <a:gd name="connsiteX168" fmla="*/ 336702 w 455947"/>
                <a:gd name="connsiteY168" fmla="*/ 217199 h 438270"/>
                <a:gd name="connsiteX169" fmla="*/ 370128 w 455947"/>
                <a:gd name="connsiteY169" fmla="*/ 208364 h 438270"/>
                <a:gd name="connsiteX170" fmla="*/ 372707 w 455947"/>
                <a:gd name="connsiteY170" fmla="*/ 223424 h 438270"/>
                <a:gd name="connsiteX171" fmla="*/ 386170 w 455947"/>
                <a:gd name="connsiteY171" fmla="*/ 230921 h 438270"/>
                <a:gd name="connsiteX172" fmla="*/ 337347 w 455947"/>
                <a:gd name="connsiteY172" fmla="*/ 263741 h 438270"/>
                <a:gd name="connsiteX173" fmla="*/ 288628 w 455947"/>
                <a:gd name="connsiteY173" fmla="*/ 231281 h 438270"/>
                <a:gd name="connsiteX174" fmla="*/ 302671 w 455947"/>
                <a:gd name="connsiteY174" fmla="*/ 223449 h 438270"/>
                <a:gd name="connsiteX175" fmla="*/ 305250 w 455947"/>
                <a:gd name="connsiteY175" fmla="*/ 208017 h 438270"/>
                <a:gd name="connsiteX176" fmla="*/ 190106 w 455947"/>
                <a:gd name="connsiteY176" fmla="*/ 138327 h 438270"/>
                <a:gd name="connsiteX177" fmla="*/ 193601 w 455947"/>
                <a:gd name="connsiteY177" fmla="*/ 155547 h 438270"/>
                <a:gd name="connsiteX178" fmla="*/ 176540 w 455947"/>
                <a:gd name="connsiteY178" fmla="*/ 177281 h 438270"/>
                <a:gd name="connsiteX179" fmla="*/ 175972 w 455947"/>
                <a:gd name="connsiteY179" fmla="*/ 177281 h 438270"/>
                <a:gd name="connsiteX180" fmla="*/ 173393 w 455947"/>
                <a:gd name="connsiteY180" fmla="*/ 176754 h 438270"/>
                <a:gd name="connsiteX181" fmla="*/ 110308 w 455947"/>
                <a:gd name="connsiteY181" fmla="*/ 240619 h 438270"/>
                <a:gd name="connsiteX182" fmla="*/ 47417 w 455947"/>
                <a:gd name="connsiteY182" fmla="*/ 176857 h 438270"/>
                <a:gd name="connsiteX183" fmla="*/ 45263 w 455947"/>
                <a:gd name="connsiteY183" fmla="*/ 177281 h 438270"/>
                <a:gd name="connsiteX184" fmla="*/ 44709 w 455947"/>
                <a:gd name="connsiteY184" fmla="*/ 177281 h 438270"/>
                <a:gd name="connsiteX185" fmla="*/ 27648 w 455947"/>
                <a:gd name="connsiteY185" fmla="*/ 155547 h 438270"/>
                <a:gd name="connsiteX186" fmla="*/ 31182 w 455947"/>
                <a:gd name="connsiteY186" fmla="*/ 138366 h 438270"/>
                <a:gd name="connsiteX187" fmla="*/ 38816 w 455947"/>
                <a:gd name="connsiteY187" fmla="*/ 143664 h 438270"/>
                <a:gd name="connsiteX188" fmla="*/ 110437 w 455947"/>
                <a:gd name="connsiteY188" fmla="*/ 153116 h 438270"/>
                <a:gd name="connsiteX189" fmla="*/ 182549 w 455947"/>
                <a:gd name="connsiteY189" fmla="*/ 143780 h 438270"/>
                <a:gd name="connsiteX190" fmla="*/ 190106 w 455947"/>
                <a:gd name="connsiteY190" fmla="*/ 138327 h 438270"/>
                <a:gd name="connsiteX191" fmla="*/ 416591 w 455947"/>
                <a:gd name="connsiteY191" fmla="*/ 108529 h 438270"/>
                <a:gd name="connsiteX192" fmla="*/ 420098 w 455947"/>
                <a:gd name="connsiteY192" fmla="*/ 125749 h 438270"/>
                <a:gd name="connsiteX193" fmla="*/ 403024 w 455947"/>
                <a:gd name="connsiteY193" fmla="*/ 147483 h 438270"/>
                <a:gd name="connsiteX194" fmla="*/ 402470 w 455947"/>
                <a:gd name="connsiteY194" fmla="*/ 147483 h 438270"/>
                <a:gd name="connsiteX195" fmla="*/ 399891 w 455947"/>
                <a:gd name="connsiteY195" fmla="*/ 146943 h 438270"/>
                <a:gd name="connsiteX196" fmla="*/ 336793 w 455947"/>
                <a:gd name="connsiteY196" fmla="*/ 210821 h 438270"/>
                <a:gd name="connsiteX197" fmla="*/ 273915 w 455947"/>
                <a:gd name="connsiteY197" fmla="*/ 147059 h 438270"/>
                <a:gd name="connsiteX198" fmla="*/ 271761 w 455947"/>
                <a:gd name="connsiteY198" fmla="*/ 147483 h 438270"/>
                <a:gd name="connsiteX199" fmla="*/ 271194 w 455947"/>
                <a:gd name="connsiteY199" fmla="*/ 147483 h 438270"/>
                <a:gd name="connsiteX200" fmla="*/ 254133 w 455947"/>
                <a:gd name="connsiteY200" fmla="*/ 125749 h 438270"/>
                <a:gd name="connsiteX201" fmla="*/ 257666 w 455947"/>
                <a:gd name="connsiteY201" fmla="*/ 108580 h 438270"/>
                <a:gd name="connsiteX202" fmla="*/ 265313 w 455947"/>
                <a:gd name="connsiteY202" fmla="*/ 113866 h 438270"/>
                <a:gd name="connsiteX203" fmla="*/ 336935 w 455947"/>
                <a:gd name="connsiteY203" fmla="*/ 123318 h 438270"/>
                <a:gd name="connsiteX204" fmla="*/ 409034 w 455947"/>
                <a:gd name="connsiteY204" fmla="*/ 113995 h 438270"/>
                <a:gd name="connsiteX205" fmla="*/ 416591 w 455947"/>
                <a:gd name="connsiteY205" fmla="*/ 108529 h 438270"/>
                <a:gd name="connsiteX206" fmla="*/ 79681 w 455947"/>
                <a:gd name="connsiteY206" fmla="*/ 48433 h 438270"/>
                <a:gd name="connsiteX207" fmla="*/ 80610 w 455947"/>
                <a:gd name="connsiteY207" fmla="*/ 48446 h 438270"/>
                <a:gd name="connsiteX208" fmla="*/ 80610 w 455947"/>
                <a:gd name="connsiteY208" fmla="*/ 84738 h 438270"/>
                <a:gd name="connsiteX209" fmla="*/ 99953 w 455947"/>
                <a:gd name="connsiteY209" fmla="*/ 104029 h 438270"/>
                <a:gd name="connsiteX210" fmla="*/ 122430 w 455947"/>
                <a:gd name="connsiteY210" fmla="*/ 104029 h 438270"/>
                <a:gd name="connsiteX211" fmla="*/ 141773 w 455947"/>
                <a:gd name="connsiteY211" fmla="*/ 84738 h 438270"/>
                <a:gd name="connsiteX212" fmla="*/ 141773 w 455947"/>
                <a:gd name="connsiteY212" fmla="*/ 49346 h 438270"/>
                <a:gd name="connsiteX213" fmla="*/ 142676 w 455947"/>
                <a:gd name="connsiteY213" fmla="*/ 49346 h 438270"/>
                <a:gd name="connsiteX214" fmla="*/ 177636 w 455947"/>
                <a:gd name="connsiteY214" fmla="*/ 105623 h 438270"/>
                <a:gd name="connsiteX215" fmla="*/ 181749 w 455947"/>
                <a:gd name="connsiteY215" fmla="*/ 109481 h 438270"/>
                <a:gd name="connsiteX216" fmla="*/ 182575 w 455947"/>
                <a:gd name="connsiteY216" fmla="*/ 109481 h 438270"/>
                <a:gd name="connsiteX217" fmla="*/ 182576 w 455947"/>
                <a:gd name="connsiteY217" fmla="*/ 109481 h 438270"/>
                <a:gd name="connsiteX218" fmla="*/ 186740 w 455947"/>
                <a:gd name="connsiteY218" fmla="*/ 113790 h 438270"/>
                <a:gd name="connsiteX219" fmla="*/ 186740 w 455947"/>
                <a:gd name="connsiteY219" fmla="*/ 128888 h 438270"/>
                <a:gd name="connsiteX220" fmla="*/ 180408 w 455947"/>
                <a:gd name="connsiteY220" fmla="*/ 137684 h 438270"/>
                <a:gd name="connsiteX221" fmla="*/ 110347 w 455947"/>
                <a:gd name="connsiteY221" fmla="*/ 146686 h 438270"/>
                <a:gd name="connsiteX222" fmla="*/ 40711 w 455947"/>
                <a:gd name="connsiteY222" fmla="*/ 137530 h 438270"/>
                <a:gd name="connsiteX223" fmla="*/ 34186 w 455947"/>
                <a:gd name="connsiteY223" fmla="*/ 128785 h 438270"/>
                <a:gd name="connsiteX224" fmla="*/ 33980 w 455947"/>
                <a:gd name="connsiteY224" fmla="*/ 113802 h 438270"/>
                <a:gd name="connsiteX225" fmla="*/ 33980 w 455947"/>
                <a:gd name="connsiteY225" fmla="*/ 113801 h 438270"/>
                <a:gd name="connsiteX226" fmla="*/ 38145 w 455947"/>
                <a:gd name="connsiteY226" fmla="*/ 109494 h 438270"/>
                <a:gd name="connsiteX227" fmla="*/ 38970 w 455947"/>
                <a:gd name="connsiteY227" fmla="*/ 109494 h 438270"/>
                <a:gd name="connsiteX228" fmla="*/ 43084 w 455947"/>
                <a:gd name="connsiteY228" fmla="*/ 105636 h 438270"/>
                <a:gd name="connsiteX229" fmla="*/ 79681 w 455947"/>
                <a:gd name="connsiteY229" fmla="*/ 48433 h 438270"/>
                <a:gd name="connsiteX230" fmla="*/ 87032 w 455947"/>
                <a:gd name="connsiteY230" fmla="*/ 29785 h 438270"/>
                <a:gd name="connsiteX231" fmla="*/ 99928 w 455947"/>
                <a:gd name="connsiteY231" fmla="*/ 29785 h 438270"/>
                <a:gd name="connsiteX232" fmla="*/ 122456 w 455947"/>
                <a:gd name="connsiteY232" fmla="*/ 29785 h 438270"/>
                <a:gd name="connsiteX233" fmla="*/ 135352 w 455947"/>
                <a:gd name="connsiteY233" fmla="*/ 29785 h 438270"/>
                <a:gd name="connsiteX234" fmla="*/ 135352 w 455947"/>
                <a:gd name="connsiteY234" fmla="*/ 97546 h 438270"/>
                <a:gd name="connsiteX235" fmla="*/ 122456 w 455947"/>
                <a:gd name="connsiteY235" fmla="*/ 97546 h 438270"/>
                <a:gd name="connsiteX236" fmla="*/ 99928 w 455947"/>
                <a:gd name="connsiteY236" fmla="*/ 97546 h 438270"/>
                <a:gd name="connsiteX237" fmla="*/ 87032 w 455947"/>
                <a:gd name="connsiteY237" fmla="*/ 97546 h 438270"/>
                <a:gd name="connsiteX238" fmla="*/ 306165 w 455947"/>
                <a:gd name="connsiteY238" fmla="*/ 18635 h 438270"/>
                <a:gd name="connsiteX239" fmla="*/ 307068 w 455947"/>
                <a:gd name="connsiteY239" fmla="*/ 18648 h 438270"/>
                <a:gd name="connsiteX240" fmla="*/ 307068 w 455947"/>
                <a:gd name="connsiteY240" fmla="*/ 54863 h 438270"/>
                <a:gd name="connsiteX241" fmla="*/ 326411 w 455947"/>
                <a:gd name="connsiteY241" fmla="*/ 74153 h 438270"/>
                <a:gd name="connsiteX242" fmla="*/ 348953 w 455947"/>
                <a:gd name="connsiteY242" fmla="*/ 74153 h 438270"/>
                <a:gd name="connsiteX243" fmla="*/ 368296 w 455947"/>
                <a:gd name="connsiteY243" fmla="*/ 54863 h 438270"/>
                <a:gd name="connsiteX244" fmla="*/ 368296 w 455947"/>
                <a:gd name="connsiteY244" fmla="*/ 19471 h 438270"/>
                <a:gd name="connsiteX245" fmla="*/ 369199 w 455947"/>
                <a:gd name="connsiteY245" fmla="*/ 19471 h 438270"/>
                <a:gd name="connsiteX246" fmla="*/ 404094 w 455947"/>
                <a:gd name="connsiteY246" fmla="*/ 75838 h 438270"/>
                <a:gd name="connsiteX247" fmla="*/ 408208 w 455947"/>
                <a:gd name="connsiteY247" fmla="*/ 79696 h 438270"/>
                <a:gd name="connsiteX248" fmla="*/ 409033 w 455947"/>
                <a:gd name="connsiteY248" fmla="*/ 79696 h 438270"/>
                <a:gd name="connsiteX249" fmla="*/ 409034 w 455947"/>
                <a:gd name="connsiteY249" fmla="*/ 79696 h 438270"/>
                <a:gd name="connsiteX250" fmla="*/ 413211 w 455947"/>
                <a:gd name="connsiteY250" fmla="*/ 83992 h 438270"/>
                <a:gd name="connsiteX251" fmla="*/ 413211 w 455947"/>
                <a:gd name="connsiteY251" fmla="*/ 99051 h 438270"/>
                <a:gd name="connsiteX252" fmla="*/ 406866 w 455947"/>
                <a:gd name="connsiteY252" fmla="*/ 107848 h 438270"/>
                <a:gd name="connsiteX253" fmla="*/ 336818 w 455947"/>
                <a:gd name="connsiteY253" fmla="*/ 116850 h 438270"/>
                <a:gd name="connsiteX254" fmla="*/ 267182 w 455947"/>
                <a:gd name="connsiteY254" fmla="*/ 107693 h 438270"/>
                <a:gd name="connsiteX255" fmla="*/ 260657 w 455947"/>
                <a:gd name="connsiteY255" fmla="*/ 98961 h 438270"/>
                <a:gd name="connsiteX256" fmla="*/ 260476 w 455947"/>
                <a:gd name="connsiteY256" fmla="*/ 83953 h 438270"/>
                <a:gd name="connsiteX257" fmla="*/ 260476 w 455947"/>
                <a:gd name="connsiteY257" fmla="*/ 83939 h 438270"/>
                <a:gd name="connsiteX258" fmla="*/ 264642 w 455947"/>
                <a:gd name="connsiteY258" fmla="*/ 79658 h 438270"/>
                <a:gd name="connsiteX259" fmla="*/ 265467 w 455947"/>
                <a:gd name="connsiteY259" fmla="*/ 79658 h 438270"/>
                <a:gd name="connsiteX260" fmla="*/ 269581 w 455947"/>
                <a:gd name="connsiteY260" fmla="*/ 75799 h 438270"/>
                <a:gd name="connsiteX261" fmla="*/ 306165 w 455947"/>
                <a:gd name="connsiteY261" fmla="*/ 18635 h 438270"/>
                <a:gd name="connsiteX262" fmla="*/ 313516 w 455947"/>
                <a:gd name="connsiteY262" fmla="*/ 0 h 438270"/>
                <a:gd name="connsiteX263" fmla="*/ 326412 w 455947"/>
                <a:gd name="connsiteY263" fmla="*/ 0 h 438270"/>
                <a:gd name="connsiteX264" fmla="*/ 348940 w 455947"/>
                <a:gd name="connsiteY264" fmla="*/ 0 h 438270"/>
                <a:gd name="connsiteX265" fmla="*/ 361835 w 455947"/>
                <a:gd name="connsiteY265" fmla="*/ 0 h 438270"/>
                <a:gd name="connsiteX266" fmla="*/ 361835 w 455947"/>
                <a:gd name="connsiteY266" fmla="*/ 67761 h 438270"/>
                <a:gd name="connsiteX267" fmla="*/ 348940 w 455947"/>
                <a:gd name="connsiteY267" fmla="*/ 67761 h 438270"/>
                <a:gd name="connsiteX268" fmla="*/ 326412 w 455947"/>
                <a:gd name="connsiteY268" fmla="*/ 67761 h 438270"/>
                <a:gd name="connsiteX269" fmla="*/ 313516 w 455947"/>
                <a:gd name="connsiteY269" fmla="*/ 67761 h 4382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</a:cxnLst>
              <a:rect l="l" t="t" r="r" b="b"/>
              <a:pathLst>
                <a:path w="455947" h="438270">
                  <a:moveTo>
                    <a:pt x="148131" y="343553"/>
                  </a:moveTo>
                  <a:lnTo>
                    <a:pt x="148131" y="349984"/>
                  </a:lnTo>
                  <a:lnTo>
                    <a:pt x="176810" y="349984"/>
                  </a:lnTo>
                  <a:lnTo>
                    <a:pt x="176810" y="343553"/>
                  </a:lnTo>
                  <a:close/>
                  <a:moveTo>
                    <a:pt x="55967" y="264179"/>
                  </a:moveTo>
                  <a:cubicBezTo>
                    <a:pt x="63278" y="283637"/>
                    <a:pt x="83253" y="297925"/>
                    <a:pt x="107033" y="299108"/>
                  </a:cubicBezTo>
                  <a:lnTo>
                    <a:pt x="107033" y="409836"/>
                  </a:lnTo>
                  <a:cubicBezTo>
                    <a:pt x="59827" y="384302"/>
                    <a:pt x="22253" y="344121"/>
                    <a:pt x="0" y="295378"/>
                  </a:cubicBezTo>
                  <a:close/>
                  <a:moveTo>
                    <a:pt x="164547" y="263909"/>
                  </a:moveTo>
                  <a:lnTo>
                    <a:pt x="228199" y="299378"/>
                  </a:lnTo>
                  <a:cubicBezTo>
                    <a:pt x="229392" y="300044"/>
                    <a:pt x="230302" y="301118"/>
                    <a:pt x="230765" y="302400"/>
                  </a:cubicBezTo>
                  <a:lnTo>
                    <a:pt x="280864" y="431107"/>
                  </a:lnTo>
                  <a:cubicBezTo>
                    <a:pt x="261549" y="435872"/>
                    <a:pt x="241725" y="438278"/>
                    <a:pt x="221829" y="438270"/>
                  </a:cubicBezTo>
                  <a:cubicBezTo>
                    <a:pt x="219946" y="438270"/>
                    <a:pt x="218076" y="438193"/>
                    <a:pt x="216206" y="438193"/>
                  </a:cubicBezTo>
                  <a:lnTo>
                    <a:pt x="195419" y="383356"/>
                  </a:lnTo>
                  <a:cubicBezTo>
                    <a:pt x="195146" y="382613"/>
                    <a:pt x="194442" y="382117"/>
                    <a:pt x="193649" y="382106"/>
                  </a:cubicBezTo>
                  <a:cubicBezTo>
                    <a:pt x="192596" y="382093"/>
                    <a:pt x="191730" y="382936"/>
                    <a:pt x="191718" y="383987"/>
                  </a:cubicBezTo>
                  <a:lnTo>
                    <a:pt x="190428" y="436290"/>
                  </a:lnTo>
                  <a:cubicBezTo>
                    <a:pt x="163688" y="432874"/>
                    <a:pt x="137701" y="425052"/>
                    <a:pt x="113532" y="413141"/>
                  </a:cubicBezTo>
                  <a:lnTo>
                    <a:pt x="113532" y="298966"/>
                  </a:lnTo>
                  <a:cubicBezTo>
                    <a:pt x="137376" y="297770"/>
                    <a:pt x="157351" y="283418"/>
                    <a:pt x="164547" y="263909"/>
                  </a:cubicBezTo>
                  <a:close/>
                  <a:moveTo>
                    <a:pt x="78663" y="237931"/>
                  </a:moveTo>
                  <a:cubicBezTo>
                    <a:pt x="88247" y="243829"/>
                    <a:pt x="99266" y="247000"/>
                    <a:pt x="110528" y="247100"/>
                  </a:cubicBezTo>
                  <a:cubicBezTo>
                    <a:pt x="121663" y="247202"/>
                    <a:pt x="132651" y="244552"/>
                    <a:pt x="142509" y="239384"/>
                  </a:cubicBezTo>
                  <a:lnTo>
                    <a:pt x="142509" y="248309"/>
                  </a:lnTo>
                  <a:cubicBezTo>
                    <a:pt x="142497" y="250358"/>
                    <a:pt x="143603" y="252250"/>
                    <a:pt x="145397" y="253248"/>
                  </a:cubicBezTo>
                  <a:lnTo>
                    <a:pt x="158809" y="260720"/>
                  </a:lnTo>
                  <a:cubicBezTo>
                    <a:pt x="152541" y="279149"/>
                    <a:pt x="133005" y="292626"/>
                    <a:pt x="110270" y="292626"/>
                  </a:cubicBezTo>
                  <a:cubicBezTo>
                    <a:pt x="87535" y="292626"/>
                    <a:pt x="68230" y="279251"/>
                    <a:pt x="61860" y="260874"/>
                  </a:cubicBezTo>
                  <a:lnTo>
                    <a:pt x="75761" y="253158"/>
                  </a:lnTo>
                  <a:cubicBezTo>
                    <a:pt x="77558" y="252161"/>
                    <a:pt x="78669" y="250269"/>
                    <a:pt x="78663" y="248219"/>
                  </a:cubicBezTo>
                  <a:close/>
                  <a:moveTo>
                    <a:pt x="282902" y="234446"/>
                  </a:moveTo>
                  <a:cubicBezTo>
                    <a:pt x="289917" y="254251"/>
                    <a:pt x="310047" y="268873"/>
                    <a:pt x="334123" y="270082"/>
                  </a:cubicBezTo>
                  <a:lnTo>
                    <a:pt x="334136" y="411212"/>
                  </a:lnTo>
                  <a:lnTo>
                    <a:pt x="333465" y="411559"/>
                  </a:lnTo>
                  <a:lnTo>
                    <a:pt x="332395" y="412074"/>
                  </a:lnTo>
                  <a:lnTo>
                    <a:pt x="330744" y="412897"/>
                  </a:lnTo>
                  <a:lnTo>
                    <a:pt x="330035" y="413231"/>
                  </a:lnTo>
                  <a:lnTo>
                    <a:pt x="329493" y="413488"/>
                  </a:lnTo>
                  <a:lnTo>
                    <a:pt x="328036" y="414183"/>
                  </a:lnTo>
                  <a:lnTo>
                    <a:pt x="327727" y="414324"/>
                  </a:lnTo>
                  <a:lnTo>
                    <a:pt x="326656" y="414826"/>
                  </a:lnTo>
                  <a:lnTo>
                    <a:pt x="322556" y="416665"/>
                  </a:lnTo>
                  <a:cubicBezTo>
                    <a:pt x="321163" y="417269"/>
                    <a:pt x="319783" y="417874"/>
                    <a:pt x="318390" y="418453"/>
                  </a:cubicBezTo>
                  <a:lnTo>
                    <a:pt x="317965" y="418633"/>
                  </a:lnTo>
                  <a:lnTo>
                    <a:pt x="316185" y="419353"/>
                  </a:lnTo>
                  <a:lnTo>
                    <a:pt x="313606" y="420395"/>
                  </a:lnTo>
                  <a:lnTo>
                    <a:pt x="313490" y="420395"/>
                  </a:lnTo>
                  <a:lnTo>
                    <a:pt x="311014" y="421346"/>
                  </a:lnTo>
                  <a:cubicBezTo>
                    <a:pt x="309647" y="421873"/>
                    <a:pt x="308267" y="422375"/>
                    <a:pt x="306888" y="422877"/>
                  </a:cubicBezTo>
                  <a:lnTo>
                    <a:pt x="305185" y="423468"/>
                  </a:lnTo>
                  <a:lnTo>
                    <a:pt x="303341" y="424111"/>
                  </a:lnTo>
                  <a:cubicBezTo>
                    <a:pt x="301897" y="424613"/>
                    <a:pt x="300453" y="425089"/>
                    <a:pt x="298996" y="425552"/>
                  </a:cubicBezTo>
                  <a:lnTo>
                    <a:pt x="297977" y="425860"/>
                  </a:lnTo>
                  <a:lnTo>
                    <a:pt x="246962" y="294684"/>
                  </a:lnTo>
                  <a:cubicBezTo>
                    <a:pt x="245259" y="290139"/>
                    <a:pt x="241991" y="286347"/>
                    <a:pt x="237742" y="283984"/>
                  </a:cubicBezTo>
                  <a:lnTo>
                    <a:pt x="217109" y="272487"/>
                  </a:lnTo>
                  <a:cubicBezTo>
                    <a:pt x="217602" y="271326"/>
                    <a:pt x="218468" y="270361"/>
                    <a:pt x="219572" y="269748"/>
                  </a:cubicBezTo>
                  <a:close/>
                  <a:moveTo>
                    <a:pt x="391908" y="234124"/>
                  </a:moveTo>
                  <a:lnTo>
                    <a:pt x="455934" y="269812"/>
                  </a:lnTo>
                  <a:lnTo>
                    <a:pt x="455947" y="269940"/>
                  </a:lnTo>
                  <a:cubicBezTo>
                    <a:pt x="455780" y="270480"/>
                    <a:pt x="455599" y="271008"/>
                    <a:pt x="455419" y="271535"/>
                  </a:cubicBezTo>
                  <a:lnTo>
                    <a:pt x="455148" y="272319"/>
                  </a:lnTo>
                  <a:cubicBezTo>
                    <a:pt x="454851" y="273168"/>
                    <a:pt x="454555" y="274030"/>
                    <a:pt x="454245" y="274891"/>
                  </a:cubicBezTo>
                  <a:lnTo>
                    <a:pt x="454245" y="274981"/>
                  </a:lnTo>
                  <a:lnTo>
                    <a:pt x="454245" y="275084"/>
                  </a:lnTo>
                  <a:lnTo>
                    <a:pt x="454245" y="275174"/>
                  </a:lnTo>
                  <a:lnTo>
                    <a:pt x="454052" y="275702"/>
                  </a:lnTo>
                  <a:cubicBezTo>
                    <a:pt x="453974" y="275933"/>
                    <a:pt x="453897" y="276152"/>
                    <a:pt x="453807" y="276370"/>
                  </a:cubicBezTo>
                  <a:cubicBezTo>
                    <a:pt x="453355" y="277579"/>
                    <a:pt x="452891" y="278865"/>
                    <a:pt x="452401" y="280151"/>
                  </a:cubicBezTo>
                  <a:cubicBezTo>
                    <a:pt x="452375" y="280241"/>
                    <a:pt x="452311" y="280331"/>
                    <a:pt x="452311" y="280409"/>
                  </a:cubicBezTo>
                  <a:lnTo>
                    <a:pt x="451846" y="281617"/>
                  </a:lnTo>
                  <a:cubicBezTo>
                    <a:pt x="451382" y="282813"/>
                    <a:pt x="450918" y="283997"/>
                    <a:pt x="450428" y="285193"/>
                  </a:cubicBezTo>
                  <a:lnTo>
                    <a:pt x="449809" y="286684"/>
                  </a:lnTo>
                  <a:cubicBezTo>
                    <a:pt x="449461" y="287546"/>
                    <a:pt x="449100" y="288408"/>
                    <a:pt x="448739" y="289257"/>
                  </a:cubicBezTo>
                  <a:cubicBezTo>
                    <a:pt x="448623" y="289514"/>
                    <a:pt x="448519" y="289758"/>
                    <a:pt x="448416" y="290015"/>
                  </a:cubicBezTo>
                  <a:lnTo>
                    <a:pt x="447475" y="292150"/>
                  </a:lnTo>
                  <a:cubicBezTo>
                    <a:pt x="447422" y="292254"/>
                    <a:pt x="447374" y="292362"/>
                    <a:pt x="447333" y="292472"/>
                  </a:cubicBezTo>
                  <a:cubicBezTo>
                    <a:pt x="447204" y="292742"/>
                    <a:pt x="447088" y="293012"/>
                    <a:pt x="446959" y="293295"/>
                  </a:cubicBezTo>
                  <a:lnTo>
                    <a:pt x="446598" y="294105"/>
                  </a:lnTo>
                  <a:lnTo>
                    <a:pt x="446198" y="294967"/>
                  </a:lnTo>
                  <a:lnTo>
                    <a:pt x="446005" y="295391"/>
                  </a:lnTo>
                  <a:cubicBezTo>
                    <a:pt x="444655" y="298306"/>
                    <a:pt x="443254" y="301191"/>
                    <a:pt x="441801" y="304046"/>
                  </a:cubicBezTo>
                  <a:lnTo>
                    <a:pt x="441195" y="305229"/>
                  </a:lnTo>
                  <a:lnTo>
                    <a:pt x="440769" y="306039"/>
                  </a:lnTo>
                  <a:lnTo>
                    <a:pt x="440331" y="306875"/>
                  </a:lnTo>
                  <a:cubicBezTo>
                    <a:pt x="440240" y="307042"/>
                    <a:pt x="440150" y="307223"/>
                    <a:pt x="440047" y="307390"/>
                  </a:cubicBezTo>
                  <a:lnTo>
                    <a:pt x="439944" y="307595"/>
                  </a:lnTo>
                  <a:lnTo>
                    <a:pt x="439944" y="307685"/>
                  </a:lnTo>
                  <a:lnTo>
                    <a:pt x="439325" y="308830"/>
                  </a:lnTo>
                  <a:lnTo>
                    <a:pt x="438899" y="309615"/>
                  </a:lnTo>
                  <a:lnTo>
                    <a:pt x="437893" y="311454"/>
                  </a:lnTo>
                  <a:lnTo>
                    <a:pt x="437068" y="312920"/>
                  </a:lnTo>
                  <a:cubicBezTo>
                    <a:pt x="436888" y="313241"/>
                    <a:pt x="436591" y="313730"/>
                    <a:pt x="436514" y="313884"/>
                  </a:cubicBezTo>
                  <a:cubicBezTo>
                    <a:pt x="436436" y="314039"/>
                    <a:pt x="436333" y="314206"/>
                    <a:pt x="436243" y="314373"/>
                  </a:cubicBezTo>
                  <a:cubicBezTo>
                    <a:pt x="435379" y="315813"/>
                    <a:pt x="434528" y="317254"/>
                    <a:pt x="433664" y="318681"/>
                  </a:cubicBezTo>
                  <a:cubicBezTo>
                    <a:pt x="433419" y="319144"/>
                    <a:pt x="433161" y="319556"/>
                    <a:pt x="432916" y="319967"/>
                  </a:cubicBezTo>
                  <a:lnTo>
                    <a:pt x="432697" y="320327"/>
                  </a:lnTo>
                  <a:cubicBezTo>
                    <a:pt x="432503" y="320623"/>
                    <a:pt x="432323" y="320932"/>
                    <a:pt x="432129" y="321240"/>
                  </a:cubicBezTo>
                  <a:cubicBezTo>
                    <a:pt x="431265" y="322642"/>
                    <a:pt x="430388" y="324044"/>
                    <a:pt x="429486" y="325433"/>
                  </a:cubicBezTo>
                  <a:lnTo>
                    <a:pt x="429163" y="325934"/>
                  </a:lnTo>
                  <a:cubicBezTo>
                    <a:pt x="428609" y="326822"/>
                    <a:pt x="428054" y="327671"/>
                    <a:pt x="427487" y="328506"/>
                  </a:cubicBezTo>
                  <a:cubicBezTo>
                    <a:pt x="427216" y="328905"/>
                    <a:pt x="426958" y="329304"/>
                    <a:pt x="426687" y="329690"/>
                  </a:cubicBezTo>
                  <a:cubicBezTo>
                    <a:pt x="426571" y="329883"/>
                    <a:pt x="426442" y="330050"/>
                    <a:pt x="426326" y="330230"/>
                  </a:cubicBezTo>
                  <a:lnTo>
                    <a:pt x="425243" y="331799"/>
                  </a:lnTo>
                  <a:lnTo>
                    <a:pt x="424869" y="332352"/>
                  </a:lnTo>
                  <a:cubicBezTo>
                    <a:pt x="424263" y="333201"/>
                    <a:pt x="423644" y="334062"/>
                    <a:pt x="423038" y="334924"/>
                  </a:cubicBezTo>
                  <a:cubicBezTo>
                    <a:pt x="420339" y="338722"/>
                    <a:pt x="417519" y="342425"/>
                    <a:pt x="414578" y="346035"/>
                  </a:cubicBezTo>
                  <a:lnTo>
                    <a:pt x="414011" y="346730"/>
                  </a:lnTo>
                  <a:cubicBezTo>
                    <a:pt x="413147" y="347810"/>
                    <a:pt x="412270" y="348877"/>
                    <a:pt x="411367" y="349932"/>
                  </a:cubicBezTo>
                  <a:lnTo>
                    <a:pt x="410594" y="350858"/>
                  </a:lnTo>
                  <a:cubicBezTo>
                    <a:pt x="410362" y="351128"/>
                    <a:pt x="410142" y="351398"/>
                    <a:pt x="409910" y="351655"/>
                  </a:cubicBezTo>
                  <a:lnTo>
                    <a:pt x="409459" y="352195"/>
                  </a:lnTo>
                  <a:lnTo>
                    <a:pt x="408659" y="353121"/>
                  </a:lnTo>
                  <a:cubicBezTo>
                    <a:pt x="408272" y="353636"/>
                    <a:pt x="407821" y="354150"/>
                    <a:pt x="407370" y="354652"/>
                  </a:cubicBezTo>
                  <a:lnTo>
                    <a:pt x="406802" y="355295"/>
                  </a:lnTo>
                  <a:lnTo>
                    <a:pt x="404675" y="357661"/>
                  </a:lnTo>
                  <a:lnTo>
                    <a:pt x="403707" y="358690"/>
                  </a:lnTo>
                  <a:cubicBezTo>
                    <a:pt x="403540" y="358883"/>
                    <a:pt x="403372" y="359063"/>
                    <a:pt x="403192" y="359243"/>
                  </a:cubicBezTo>
                  <a:cubicBezTo>
                    <a:pt x="403100" y="359356"/>
                    <a:pt x="403001" y="359464"/>
                    <a:pt x="402895" y="359564"/>
                  </a:cubicBezTo>
                  <a:lnTo>
                    <a:pt x="402070" y="360452"/>
                  </a:lnTo>
                  <a:lnTo>
                    <a:pt x="401747" y="360799"/>
                  </a:lnTo>
                  <a:lnTo>
                    <a:pt x="401567" y="360992"/>
                  </a:lnTo>
                  <a:cubicBezTo>
                    <a:pt x="400165" y="362467"/>
                    <a:pt x="398747" y="363924"/>
                    <a:pt x="397311" y="365364"/>
                  </a:cubicBezTo>
                  <a:lnTo>
                    <a:pt x="396512" y="366162"/>
                  </a:lnTo>
                  <a:cubicBezTo>
                    <a:pt x="395532" y="367139"/>
                    <a:pt x="394448" y="368181"/>
                    <a:pt x="393546" y="369055"/>
                  </a:cubicBezTo>
                  <a:cubicBezTo>
                    <a:pt x="392643" y="369930"/>
                    <a:pt x="391740" y="370791"/>
                    <a:pt x="390838" y="371627"/>
                  </a:cubicBezTo>
                  <a:cubicBezTo>
                    <a:pt x="390567" y="371872"/>
                    <a:pt x="390309" y="372129"/>
                    <a:pt x="390038" y="372360"/>
                  </a:cubicBezTo>
                  <a:lnTo>
                    <a:pt x="389767" y="372618"/>
                  </a:lnTo>
                  <a:lnTo>
                    <a:pt x="389651" y="372721"/>
                  </a:lnTo>
                  <a:cubicBezTo>
                    <a:pt x="388559" y="373740"/>
                    <a:pt x="387450" y="374743"/>
                    <a:pt x="386324" y="375730"/>
                  </a:cubicBezTo>
                  <a:lnTo>
                    <a:pt x="385770" y="376231"/>
                  </a:lnTo>
                  <a:lnTo>
                    <a:pt x="384803" y="377067"/>
                  </a:lnTo>
                  <a:lnTo>
                    <a:pt x="383668" y="378045"/>
                  </a:lnTo>
                  <a:lnTo>
                    <a:pt x="382817" y="378778"/>
                  </a:lnTo>
                  <a:lnTo>
                    <a:pt x="381398" y="379987"/>
                  </a:lnTo>
                  <a:cubicBezTo>
                    <a:pt x="380018" y="381144"/>
                    <a:pt x="378626" y="382289"/>
                    <a:pt x="377207" y="383420"/>
                  </a:cubicBezTo>
                  <a:lnTo>
                    <a:pt x="376640" y="383845"/>
                  </a:lnTo>
                  <a:lnTo>
                    <a:pt x="374821" y="385285"/>
                  </a:lnTo>
                  <a:lnTo>
                    <a:pt x="372449" y="387124"/>
                  </a:lnTo>
                  <a:lnTo>
                    <a:pt x="372294" y="387240"/>
                  </a:lnTo>
                  <a:cubicBezTo>
                    <a:pt x="371378" y="387947"/>
                    <a:pt x="370450" y="388642"/>
                    <a:pt x="369521" y="389323"/>
                  </a:cubicBezTo>
                  <a:cubicBezTo>
                    <a:pt x="368632" y="390005"/>
                    <a:pt x="367729" y="390648"/>
                    <a:pt x="366839" y="391291"/>
                  </a:cubicBezTo>
                  <a:lnTo>
                    <a:pt x="364827" y="392718"/>
                  </a:lnTo>
                  <a:lnTo>
                    <a:pt x="364080" y="393246"/>
                  </a:lnTo>
                  <a:lnTo>
                    <a:pt x="363912" y="393374"/>
                  </a:lnTo>
                  <a:lnTo>
                    <a:pt x="361178" y="395252"/>
                  </a:lnTo>
                  <a:lnTo>
                    <a:pt x="361114" y="395252"/>
                  </a:lnTo>
                  <a:lnTo>
                    <a:pt x="358161" y="397232"/>
                  </a:lnTo>
                  <a:lnTo>
                    <a:pt x="357413" y="397708"/>
                  </a:lnTo>
                  <a:cubicBezTo>
                    <a:pt x="356407" y="398390"/>
                    <a:pt x="355427" y="399033"/>
                    <a:pt x="354395" y="399676"/>
                  </a:cubicBezTo>
                  <a:lnTo>
                    <a:pt x="353969" y="399946"/>
                  </a:lnTo>
                  <a:lnTo>
                    <a:pt x="353841" y="400036"/>
                  </a:lnTo>
                  <a:lnTo>
                    <a:pt x="353570" y="400203"/>
                  </a:lnTo>
                  <a:lnTo>
                    <a:pt x="351739" y="401335"/>
                  </a:lnTo>
                  <a:lnTo>
                    <a:pt x="350965" y="401811"/>
                  </a:lnTo>
                  <a:lnTo>
                    <a:pt x="350797" y="401914"/>
                  </a:lnTo>
                  <a:lnTo>
                    <a:pt x="349920" y="402441"/>
                  </a:lnTo>
                  <a:cubicBezTo>
                    <a:pt x="348631" y="403200"/>
                    <a:pt x="347341" y="403958"/>
                    <a:pt x="346052" y="404679"/>
                  </a:cubicBezTo>
                  <a:lnTo>
                    <a:pt x="345858" y="404781"/>
                  </a:lnTo>
                  <a:lnTo>
                    <a:pt x="344569" y="405540"/>
                  </a:lnTo>
                  <a:lnTo>
                    <a:pt x="344040" y="405836"/>
                  </a:lnTo>
                  <a:lnTo>
                    <a:pt x="343060" y="406376"/>
                  </a:lnTo>
                  <a:cubicBezTo>
                    <a:pt x="342621" y="406621"/>
                    <a:pt x="342196" y="406852"/>
                    <a:pt x="341770" y="407084"/>
                  </a:cubicBezTo>
                  <a:lnTo>
                    <a:pt x="340571" y="407739"/>
                  </a:lnTo>
                  <a:lnTo>
                    <a:pt x="340571" y="270133"/>
                  </a:lnTo>
                  <a:cubicBezTo>
                    <a:pt x="364827" y="268847"/>
                    <a:pt x="385009" y="254096"/>
                    <a:pt x="391908" y="234124"/>
                  </a:cubicBezTo>
                  <a:close/>
                  <a:moveTo>
                    <a:pt x="305250" y="208017"/>
                  </a:moveTo>
                  <a:cubicBezTo>
                    <a:pt x="314682" y="213916"/>
                    <a:pt x="325570" y="217095"/>
                    <a:pt x="336702" y="217199"/>
                  </a:cubicBezTo>
                  <a:cubicBezTo>
                    <a:pt x="348437" y="217302"/>
                    <a:pt x="359984" y="214250"/>
                    <a:pt x="370128" y="208364"/>
                  </a:cubicBezTo>
                  <a:cubicBezTo>
                    <a:pt x="370605" y="214421"/>
                    <a:pt x="371507" y="222755"/>
                    <a:pt x="372707" y="223424"/>
                  </a:cubicBezTo>
                  <a:lnTo>
                    <a:pt x="386170" y="230921"/>
                  </a:lnTo>
                  <a:cubicBezTo>
                    <a:pt x="380251" y="249826"/>
                    <a:pt x="360559" y="263741"/>
                    <a:pt x="337347" y="263741"/>
                  </a:cubicBezTo>
                  <a:cubicBezTo>
                    <a:pt x="314213" y="263741"/>
                    <a:pt x="294676" y="249980"/>
                    <a:pt x="288628" y="231281"/>
                  </a:cubicBezTo>
                  <a:lnTo>
                    <a:pt x="302671" y="223449"/>
                  </a:lnTo>
                  <a:cubicBezTo>
                    <a:pt x="303883" y="222742"/>
                    <a:pt x="304799" y="214113"/>
                    <a:pt x="305250" y="208017"/>
                  </a:cubicBezTo>
                  <a:close/>
                  <a:moveTo>
                    <a:pt x="190106" y="138327"/>
                  </a:moveTo>
                  <a:cubicBezTo>
                    <a:pt x="192930" y="143604"/>
                    <a:pt x="194145" y="149590"/>
                    <a:pt x="193601" y="155547"/>
                  </a:cubicBezTo>
                  <a:cubicBezTo>
                    <a:pt x="192762" y="167520"/>
                    <a:pt x="182536" y="177281"/>
                    <a:pt x="176540" y="177281"/>
                  </a:cubicBezTo>
                  <a:cubicBezTo>
                    <a:pt x="176352" y="177294"/>
                    <a:pt x="176161" y="177294"/>
                    <a:pt x="175972" y="177281"/>
                  </a:cubicBezTo>
                  <a:cubicBezTo>
                    <a:pt x="175096" y="177203"/>
                    <a:pt x="174230" y="177025"/>
                    <a:pt x="173393" y="176754"/>
                  </a:cubicBezTo>
                  <a:cubicBezTo>
                    <a:pt x="166894" y="210924"/>
                    <a:pt x="146119" y="240619"/>
                    <a:pt x="110308" y="240619"/>
                  </a:cubicBezTo>
                  <a:cubicBezTo>
                    <a:pt x="79940" y="240619"/>
                    <a:pt x="54935" y="211323"/>
                    <a:pt x="47417" y="176857"/>
                  </a:cubicBezTo>
                  <a:cubicBezTo>
                    <a:pt x="46716" y="177069"/>
                    <a:pt x="45993" y="177212"/>
                    <a:pt x="45263" y="177281"/>
                  </a:cubicBezTo>
                  <a:cubicBezTo>
                    <a:pt x="45079" y="177294"/>
                    <a:pt x="44893" y="177294"/>
                    <a:pt x="44709" y="177281"/>
                  </a:cubicBezTo>
                  <a:cubicBezTo>
                    <a:pt x="38700" y="177281"/>
                    <a:pt x="28474" y="167533"/>
                    <a:pt x="27648" y="155547"/>
                  </a:cubicBezTo>
                  <a:cubicBezTo>
                    <a:pt x="27119" y="149599"/>
                    <a:pt x="28347" y="143625"/>
                    <a:pt x="31182" y="138366"/>
                  </a:cubicBezTo>
                  <a:cubicBezTo>
                    <a:pt x="33134" y="140858"/>
                    <a:pt x="35794" y="142705"/>
                    <a:pt x="38816" y="143664"/>
                  </a:cubicBezTo>
                  <a:cubicBezTo>
                    <a:pt x="50022" y="147188"/>
                    <a:pt x="74214" y="153116"/>
                    <a:pt x="110437" y="153116"/>
                  </a:cubicBezTo>
                  <a:cubicBezTo>
                    <a:pt x="148840" y="153116"/>
                    <a:pt x="172104" y="147265"/>
                    <a:pt x="182549" y="143780"/>
                  </a:cubicBezTo>
                  <a:cubicBezTo>
                    <a:pt x="185565" y="142772"/>
                    <a:pt x="188203" y="140870"/>
                    <a:pt x="190106" y="138327"/>
                  </a:cubicBezTo>
                  <a:close/>
                  <a:moveTo>
                    <a:pt x="416591" y="108529"/>
                  </a:moveTo>
                  <a:cubicBezTo>
                    <a:pt x="419422" y="113804"/>
                    <a:pt x="420642" y="119791"/>
                    <a:pt x="420098" y="125749"/>
                  </a:cubicBezTo>
                  <a:cubicBezTo>
                    <a:pt x="419260" y="137735"/>
                    <a:pt x="409034" y="147483"/>
                    <a:pt x="403024" y="147483"/>
                  </a:cubicBezTo>
                  <a:lnTo>
                    <a:pt x="402470" y="147483"/>
                  </a:lnTo>
                  <a:cubicBezTo>
                    <a:pt x="401593" y="147397"/>
                    <a:pt x="400729" y="147216"/>
                    <a:pt x="399891" y="146943"/>
                  </a:cubicBezTo>
                  <a:cubicBezTo>
                    <a:pt x="393379" y="181126"/>
                    <a:pt x="372617" y="210821"/>
                    <a:pt x="336793" y="210821"/>
                  </a:cubicBezTo>
                  <a:cubicBezTo>
                    <a:pt x="306424" y="210821"/>
                    <a:pt x="281420" y="181525"/>
                    <a:pt x="273915" y="147059"/>
                  </a:cubicBezTo>
                  <a:cubicBezTo>
                    <a:pt x="273212" y="147266"/>
                    <a:pt x="272491" y="147407"/>
                    <a:pt x="271761" y="147483"/>
                  </a:cubicBezTo>
                  <a:lnTo>
                    <a:pt x="271194" y="147483"/>
                  </a:lnTo>
                  <a:cubicBezTo>
                    <a:pt x="265197" y="147483"/>
                    <a:pt x="254971" y="137735"/>
                    <a:pt x="254133" y="125749"/>
                  </a:cubicBezTo>
                  <a:cubicBezTo>
                    <a:pt x="253604" y="119805"/>
                    <a:pt x="254833" y="113836"/>
                    <a:pt x="257666" y="108580"/>
                  </a:cubicBezTo>
                  <a:cubicBezTo>
                    <a:pt x="259622" y="111072"/>
                    <a:pt x="262288" y="112914"/>
                    <a:pt x="265313" y="113866"/>
                  </a:cubicBezTo>
                  <a:cubicBezTo>
                    <a:pt x="276507" y="117403"/>
                    <a:pt x="300711" y="123318"/>
                    <a:pt x="336935" y="123318"/>
                  </a:cubicBezTo>
                  <a:cubicBezTo>
                    <a:pt x="375338" y="123318"/>
                    <a:pt x="398588" y="117480"/>
                    <a:pt x="409034" y="113995"/>
                  </a:cubicBezTo>
                  <a:cubicBezTo>
                    <a:pt x="412051" y="112981"/>
                    <a:pt x="414687" y="111074"/>
                    <a:pt x="416591" y="108529"/>
                  </a:cubicBezTo>
                  <a:close/>
                  <a:moveTo>
                    <a:pt x="79681" y="48433"/>
                  </a:moveTo>
                  <a:lnTo>
                    <a:pt x="80610" y="48446"/>
                  </a:lnTo>
                  <a:lnTo>
                    <a:pt x="80610" y="84738"/>
                  </a:lnTo>
                  <a:cubicBezTo>
                    <a:pt x="80610" y="95391"/>
                    <a:pt x="89271" y="104029"/>
                    <a:pt x="99953" y="104029"/>
                  </a:cubicBezTo>
                  <a:lnTo>
                    <a:pt x="122430" y="104029"/>
                  </a:lnTo>
                  <a:cubicBezTo>
                    <a:pt x="133113" y="104029"/>
                    <a:pt x="141773" y="95391"/>
                    <a:pt x="141773" y="84738"/>
                  </a:cubicBezTo>
                  <a:lnTo>
                    <a:pt x="141773" y="49346"/>
                  </a:lnTo>
                  <a:lnTo>
                    <a:pt x="142676" y="49346"/>
                  </a:lnTo>
                  <a:cubicBezTo>
                    <a:pt x="163083" y="61043"/>
                    <a:pt x="176221" y="82193"/>
                    <a:pt x="177636" y="105623"/>
                  </a:cubicBezTo>
                  <a:cubicBezTo>
                    <a:pt x="177773" y="107790"/>
                    <a:pt x="179573" y="109479"/>
                    <a:pt x="181749" y="109481"/>
                  </a:cubicBezTo>
                  <a:lnTo>
                    <a:pt x="182575" y="109481"/>
                  </a:lnTo>
                  <a:cubicBezTo>
                    <a:pt x="182575" y="109481"/>
                    <a:pt x="182576" y="109481"/>
                    <a:pt x="182576" y="109481"/>
                  </a:cubicBezTo>
                  <a:cubicBezTo>
                    <a:pt x="184919" y="109524"/>
                    <a:pt x="186783" y="111453"/>
                    <a:pt x="186740" y="113790"/>
                  </a:cubicBezTo>
                  <a:lnTo>
                    <a:pt x="186740" y="128888"/>
                  </a:lnTo>
                  <a:cubicBezTo>
                    <a:pt x="186748" y="132873"/>
                    <a:pt x="184197" y="136416"/>
                    <a:pt x="180408" y="137684"/>
                  </a:cubicBezTo>
                  <a:cubicBezTo>
                    <a:pt x="170324" y="141054"/>
                    <a:pt x="147834" y="146686"/>
                    <a:pt x="110347" y="146686"/>
                  </a:cubicBezTo>
                  <a:cubicBezTo>
                    <a:pt x="74846" y="146686"/>
                    <a:pt x="51311" y="140874"/>
                    <a:pt x="40711" y="137530"/>
                  </a:cubicBezTo>
                  <a:cubicBezTo>
                    <a:pt x="36871" y="136325"/>
                    <a:pt x="34240" y="132799"/>
                    <a:pt x="34186" y="128785"/>
                  </a:cubicBezTo>
                  <a:lnTo>
                    <a:pt x="33980" y="113802"/>
                  </a:lnTo>
                  <a:cubicBezTo>
                    <a:pt x="33980" y="113802"/>
                    <a:pt x="33980" y="113801"/>
                    <a:pt x="33980" y="113801"/>
                  </a:cubicBezTo>
                  <a:cubicBezTo>
                    <a:pt x="33937" y="111464"/>
                    <a:pt x="35802" y="109537"/>
                    <a:pt x="38145" y="109494"/>
                  </a:cubicBezTo>
                  <a:lnTo>
                    <a:pt x="38970" y="109494"/>
                  </a:lnTo>
                  <a:cubicBezTo>
                    <a:pt x="41144" y="109485"/>
                    <a:pt x="42942" y="107800"/>
                    <a:pt x="43084" y="105636"/>
                  </a:cubicBezTo>
                  <a:cubicBezTo>
                    <a:pt x="44508" y="81528"/>
                    <a:pt x="58359" y="59879"/>
                    <a:pt x="79681" y="48433"/>
                  </a:cubicBezTo>
                  <a:close/>
                  <a:moveTo>
                    <a:pt x="87032" y="29785"/>
                  </a:moveTo>
                  <a:cubicBezTo>
                    <a:pt x="87032" y="29785"/>
                    <a:pt x="92806" y="29785"/>
                    <a:pt x="99928" y="29785"/>
                  </a:cubicBezTo>
                  <a:lnTo>
                    <a:pt x="122456" y="29785"/>
                  </a:lnTo>
                  <a:cubicBezTo>
                    <a:pt x="129578" y="29785"/>
                    <a:pt x="135352" y="29785"/>
                    <a:pt x="135352" y="29785"/>
                  </a:cubicBezTo>
                  <a:lnTo>
                    <a:pt x="135352" y="97546"/>
                  </a:lnTo>
                  <a:cubicBezTo>
                    <a:pt x="135352" y="97546"/>
                    <a:pt x="129578" y="97546"/>
                    <a:pt x="122456" y="97546"/>
                  </a:cubicBezTo>
                  <a:lnTo>
                    <a:pt x="99928" y="97546"/>
                  </a:lnTo>
                  <a:cubicBezTo>
                    <a:pt x="92806" y="97546"/>
                    <a:pt x="87032" y="97546"/>
                    <a:pt x="87032" y="97546"/>
                  </a:cubicBezTo>
                  <a:close/>
                  <a:moveTo>
                    <a:pt x="306165" y="18635"/>
                  </a:moveTo>
                  <a:lnTo>
                    <a:pt x="307068" y="18648"/>
                  </a:lnTo>
                  <a:lnTo>
                    <a:pt x="307068" y="54863"/>
                  </a:lnTo>
                  <a:cubicBezTo>
                    <a:pt x="307068" y="65516"/>
                    <a:pt x="315729" y="74153"/>
                    <a:pt x="326411" y="74153"/>
                  </a:cubicBezTo>
                  <a:lnTo>
                    <a:pt x="348953" y="74153"/>
                  </a:lnTo>
                  <a:cubicBezTo>
                    <a:pt x="359635" y="74153"/>
                    <a:pt x="368296" y="65516"/>
                    <a:pt x="368296" y="54863"/>
                  </a:cubicBezTo>
                  <a:lnTo>
                    <a:pt x="368296" y="19471"/>
                  </a:lnTo>
                  <a:lnTo>
                    <a:pt x="369199" y="19471"/>
                  </a:lnTo>
                  <a:cubicBezTo>
                    <a:pt x="389610" y="31197"/>
                    <a:pt x="402728" y="52386"/>
                    <a:pt x="404094" y="75838"/>
                  </a:cubicBezTo>
                  <a:cubicBezTo>
                    <a:pt x="404236" y="78002"/>
                    <a:pt x="406033" y="79687"/>
                    <a:pt x="408208" y="79696"/>
                  </a:cubicBezTo>
                  <a:lnTo>
                    <a:pt x="409033" y="79696"/>
                  </a:lnTo>
                  <a:cubicBezTo>
                    <a:pt x="409033" y="79696"/>
                    <a:pt x="409034" y="79696"/>
                    <a:pt x="409034" y="79696"/>
                  </a:cubicBezTo>
                  <a:cubicBezTo>
                    <a:pt x="411377" y="79732"/>
                    <a:pt x="413247" y="81655"/>
                    <a:pt x="413211" y="83992"/>
                  </a:cubicBezTo>
                  <a:lnTo>
                    <a:pt x="413211" y="99051"/>
                  </a:lnTo>
                  <a:cubicBezTo>
                    <a:pt x="413205" y="103037"/>
                    <a:pt x="410653" y="106574"/>
                    <a:pt x="406866" y="107848"/>
                  </a:cubicBezTo>
                  <a:cubicBezTo>
                    <a:pt x="396782" y="111217"/>
                    <a:pt x="374305" y="116850"/>
                    <a:pt x="336818" y="116850"/>
                  </a:cubicBezTo>
                  <a:cubicBezTo>
                    <a:pt x="301317" y="116850"/>
                    <a:pt x="277782" y="111037"/>
                    <a:pt x="267182" y="107693"/>
                  </a:cubicBezTo>
                  <a:cubicBezTo>
                    <a:pt x="263347" y="106491"/>
                    <a:pt x="260716" y="102971"/>
                    <a:pt x="260657" y="98961"/>
                  </a:cubicBezTo>
                  <a:lnTo>
                    <a:pt x="260476" y="83953"/>
                  </a:lnTo>
                  <a:cubicBezTo>
                    <a:pt x="260476" y="83948"/>
                    <a:pt x="260476" y="83944"/>
                    <a:pt x="260476" y="83939"/>
                  </a:cubicBezTo>
                  <a:cubicBezTo>
                    <a:pt x="260442" y="81610"/>
                    <a:pt x="262306" y="79692"/>
                    <a:pt x="264642" y="79658"/>
                  </a:cubicBezTo>
                  <a:lnTo>
                    <a:pt x="265467" y="79658"/>
                  </a:lnTo>
                  <a:cubicBezTo>
                    <a:pt x="267641" y="79649"/>
                    <a:pt x="269439" y="77964"/>
                    <a:pt x="269581" y="75799"/>
                  </a:cubicBezTo>
                  <a:cubicBezTo>
                    <a:pt x="271011" y="51707"/>
                    <a:pt x="284855" y="30073"/>
                    <a:pt x="306165" y="18635"/>
                  </a:cubicBezTo>
                  <a:close/>
                  <a:moveTo>
                    <a:pt x="313516" y="0"/>
                  </a:moveTo>
                  <a:cubicBezTo>
                    <a:pt x="313516" y="0"/>
                    <a:pt x="319289" y="0"/>
                    <a:pt x="326412" y="0"/>
                  </a:cubicBezTo>
                  <a:lnTo>
                    <a:pt x="348940" y="0"/>
                  </a:lnTo>
                  <a:cubicBezTo>
                    <a:pt x="356062" y="0"/>
                    <a:pt x="361835" y="0"/>
                    <a:pt x="361835" y="0"/>
                  </a:cubicBezTo>
                  <a:lnTo>
                    <a:pt x="361835" y="67761"/>
                  </a:lnTo>
                  <a:cubicBezTo>
                    <a:pt x="361835" y="67761"/>
                    <a:pt x="356062" y="67761"/>
                    <a:pt x="348940" y="67761"/>
                  </a:cubicBezTo>
                  <a:lnTo>
                    <a:pt x="326412" y="67761"/>
                  </a:lnTo>
                  <a:cubicBezTo>
                    <a:pt x="319289" y="67761"/>
                    <a:pt x="313516" y="67761"/>
                    <a:pt x="313516" y="67761"/>
                  </a:cubicBezTo>
                  <a:close/>
                </a:path>
              </a:pathLst>
            </a:custGeom>
            <a:solidFill>
              <a:srgbClr val="025EA1"/>
            </a:solidFill>
            <a:ln w="12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2" name="Группа 61">
            <a:extLst>
              <a:ext uri="{FF2B5EF4-FFF2-40B4-BE49-F238E27FC236}">
                <a16:creationId xmlns:a16="http://schemas.microsoft.com/office/drawing/2014/main" id="{651BE68A-EEA8-CD7C-3A99-8C3B145F4C58}"/>
              </a:ext>
            </a:extLst>
          </p:cNvPr>
          <p:cNvGrpSpPr/>
          <p:nvPr/>
        </p:nvGrpSpPr>
        <p:grpSpPr>
          <a:xfrm>
            <a:off x="419524" y="4108029"/>
            <a:ext cx="495962" cy="494389"/>
            <a:chOff x="4798532" y="4583967"/>
            <a:chExt cx="719999" cy="720000"/>
          </a:xfrm>
        </p:grpSpPr>
        <p:pic>
          <p:nvPicPr>
            <p:cNvPr id="63" name="Рисунок 62">
              <a:extLst>
                <a:ext uri="{FF2B5EF4-FFF2-40B4-BE49-F238E27FC236}">
                  <a16:creationId xmlns:a16="http://schemas.microsoft.com/office/drawing/2014/main" id="{682B11B1-7BE7-65F1-DB35-2BD532B5A14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/>
            <a:stretch/>
          </p:blipFill>
          <p:spPr>
            <a:xfrm>
              <a:off x="4798532" y="4583967"/>
              <a:ext cx="719999" cy="720000"/>
            </a:xfrm>
            <a:prstGeom prst="rect">
              <a:avLst/>
            </a:prstGeom>
          </p:spPr>
        </p:pic>
        <p:sp>
          <p:nvSpPr>
            <p:cNvPr id="64" name="Полилиния 187">
              <a:extLst>
                <a:ext uri="{FF2B5EF4-FFF2-40B4-BE49-F238E27FC236}">
                  <a16:creationId xmlns:a16="http://schemas.microsoft.com/office/drawing/2014/main" id="{862AE31F-6A63-20D9-90B8-A72507945913}"/>
                </a:ext>
              </a:extLst>
            </p:cNvPr>
            <p:cNvSpPr/>
            <p:nvPr/>
          </p:nvSpPr>
          <p:spPr>
            <a:xfrm>
              <a:off x="4926688" y="4735502"/>
              <a:ext cx="475125" cy="415424"/>
            </a:xfrm>
            <a:custGeom>
              <a:avLst/>
              <a:gdLst>
                <a:gd name="connsiteX0" fmla="*/ 10450 w 475125"/>
                <a:gd name="connsiteY0" fmla="*/ 292297 h 415424"/>
                <a:gd name="connsiteX1" fmla="*/ 220699 w 475125"/>
                <a:gd name="connsiteY1" fmla="*/ 375447 h 415424"/>
                <a:gd name="connsiteX2" fmla="*/ 220699 w 475125"/>
                <a:gd name="connsiteY2" fmla="*/ 382372 h 415424"/>
                <a:gd name="connsiteX3" fmla="*/ 8095 w 475125"/>
                <a:gd name="connsiteY3" fmla="*/ 298293 h 415424"/>
                <a:gd name="connsiteX4" fmla="*/ 8276 w 475125"/>
                <a:gd name="connsiteY4" fmla="*/ 269627 h 415424"/>
                <a:gd name="connsiteX5" fmla="*/ 220699 w 475125"/>
                <a:gd name="connsiteY5" fmla="*/ 355047 h 415424"/>
                <a:gd name="connsiteX6" fmla="*/ 220699 w 475125"/>
                <a:gd name="connsiteY6" fmla="*/ 361998 h 415424"/>
                <a:gd name="connsiteX7" fmla="*/ 5882 w 475125"/>
                <a:gd name="connsiteY7" fmla="*/ 275611 h 415424"/>
                <a:gd name="connsiteX8" fmla="*/ 356540 w 475125"/>
                <a:gd name="connsiteY8" fmla="*/ 129801 h 415424"/>
                <a:gd name="connsiteX9" fmla="*/ 471561 w 475125"/>
                <a:gd name="connsiteY9" fmla="*/ 169880 h 415424"/>
                <a:gd name="connsiteX10" fmla="*/ 475125 w 475125"/>
                <a:gd name="connsiteY10" fmla="*/ 211662 h 415424"/>
                <a:gd name="connsiteX11" fmla="*/ 474070 w 475125"/>
                <a:gd name="connsiteY11" fmla="*/ 234397 h 415424"/>
                <a:gd name="connsiteX12" fmla="*/ 230993 w 475125"/>
                <a:gd name="connsiteY12" fmla="*/ 415321 h 415424"/>
                <a:gd name="connsiteX13" fmla="*/ 230993 w 475125"/>
                <a:gd name="connsiteY13" fmla="*/ 415424 h 415424"/>
                <a:gd name="connsiteX14" fmla="*/ 17772 w 475125"/>
                <a:gd name="connsiteY14" fmla="*/ 331100 h 415424"/>
                <a:gd name="connsiteX15" fmla="*/ 8957 w 475125"/>
                <a:gd name="connsiteY15" fmla="*/ 313756 h 415424"/>
                <a:gd name="connsiteX16" fmla="*/ 230993 w 475125"/>
                <a:gd name="connsiteY16" fmla="*/ 401535 h 415424"/>
                <a:gd name="connsiteX17" fmla="*/ 230993 w 475125"/>
                <a:gd name="connsiteY17" fmla="*/ 344795 h 415424"/>
                <a:gd name="connsiteX18" fmla="*/ 231302 w 475125"/>
                <a:gd name="connsiteY18" fmla="*/ 344576 h 415424"/>
                <a:gd name="connsiteX19" fmla="*/ 0 w 475125"/>
                <a:gd name="connsiteY19" fmla="*/ 249575 h 415424"/>
                <a:gd name="connsiteX20" fmla="*/ 105948 w 475125"/>
                <a:gd name="connsiteY20" fmla="*/ 181680 h 415424"/>
                <a:gd name="connsiteX21" fmla="*/ 105948 w 475125"/>
                <a:gd name="connsiteY21" fmla="*/ 196987 h 415424"/>
                <a:gd name="connsiteX22" fmla="*/ 27809 w 475125"/>
                <a:gd name="connsiteY22" fmla="*/ 247060 h 415424"/>
                <a:gd name="connsiteX23" fmla="*/ 230182 w 475125"/>
                <a:gd name="connsiteY23" fmla="*/ 330223 h 415424"/>
                <a:gd name="connsiteX24" fmla="*/ 448500 w 475125"/>
                <a:gd name="connsiteY24" fmla="*/ 175477 h 415424"/>
                <a:gd name="connsiteX25" fmla="*/ 356540 w 475125"/>
                <a:gd name="connsiteY25" fmla="*/ 143406 h 415424"/>
                <a:gd name="connsiteX26" fmla="*/ 118817 w 475125"/>
                <a:gd name="connsiteY26" fmla="*/ 100863 h 415424"/>
                <a:gd name="connsiteX27" fmla="*/ 224508 w 475125"/>
                <a:gd name="connsiteY27" fmla="*/ 143109 h 415424"/>
                <a:gd name="connsiteX28" fmla="*/ 238792 w 475125"/>
                <a:gd name="connsiteY28" fmla="*/ 143109 h 415424"/>
                <a:gd name="connsiteX29" fmla="*/ 343672 w 475125"/>
                <a:gd name="connsiteY29" fmla="*/ 101314 h 415424"/>
                <a:gd name="connsiteX30" fmla="*/ 343672 w 475125"/>
                <a:gd name="connsiteY30" fmla="*/ 203795 h 415424"/>
                <a:gd name="connsiteX31" fmla="*/ 343543 w 475125"/>
                <a:gd name="connsiteY31" fmla="*/ 203898 h 415424"/>
                <a:gd name="connsiteX32" fmla="*/ 343672 w 475125"/>
                <a:gd name="connsiteY32" fmla="*/ 206103 h 415424"/>
                <a:gd name="connsiteX33" fmla="*/ 231238 w 475125"/>
                <a:gd name="connsiteY33" fmla="*/ 258859 h 415424"/>
                <a:gd name="connsiteX34" fmla="*/ 118817 w 475125"/>
                <a:gd name="connsiteY34" fmla="*/ 206103 h 415424"/>
                <a:gd name="connsiteX35" fmla="*/ 118959 w 475125"/>
                <a:gd name="connsiteY35" fmla="*/ 203524 h 415424"/>
                <a:gd name="connsiteX36" fmla="*/ 118817 w 475125"/>
                <a:gd name="connsiteY36" fmla="*/ 203382 h 415424"/>
                <a:gd name="connsiteX37" fmla="*/ 88164 w 475125"/>
                <a:gd name="connsiteY37" fmla="*/ 88535 h 415424"/>
                <a:gd name="connsiteX38" fmla="*/ 101032 w 475125"/>
                <a:gd name="connsiteY38" fmla="*/ 93693 h 415424"/>
                <a:gd name="connsiteX39" fmla="*/ 101032 w 475125"/>
                <a:gd name="connsiteY39" fmla="*/ 132148 h 415424"/>
                <a:gd name="connsiteX40" fmla="*/ 106463 w 475125"/>
                <a:gd name="connsiteY40" fmla="*/ 157358 h 415424"/>
                <a:gd name="connsiteX41" fmla="*/ 106696 w 475125"/>
                <a:gd name="connsiteY41" fmla="*/ 159642 h 415424"/>
                <a:gd name="connsiteX42" fmla="*/ 94984 w 475125"/>
                <a:gd name="connsiteY42" fmla="*/ 171479 h 415424"/>
                <a:gd name="connsiteX43" fmla="*/ 94263 w 475125"/>
                <a:gd name="connsiteY43" fmla="*/ 171479 h 415424"/>
                <a:gd name="connsiteX44" fmla="*/ 91336 w 475125"/>
                <a:gd name="connsiteY44" fmla="*/ 171124 h 415424"/>
                <a:gd name="connsiteX45" fmla="*/ 82283 w 475125"/>
                <a:gd name="connsiteY45" fmla="*/ 156172 h 415424"/>
                <a:gd name="connsiteX46" fmla="*/ 88164 w 475125"/>
                <a:gd name="connsiteY46" fmla="*/ 132083 h 415424"/>
                <a:gd name="connsiteX47" fmla="*/ 226593 w 475125"/>
                <a:gd name="connsiteY47" fmla="*/ 962 h 415424"/>
                <a:gd name="connsiteX48" fmla="*/ 236347 w 475125"/>
                <a:gd name="connsiteY48" fmla="*/ 962 h 415424"/>
                <a:gd name="connsiteX49" fmla="*/ 375226 w 475125"/>
                <a:gd name="connsiteY49" fmla="*/ 57934 h 415424"/>
                <a:gd name="connsiteX50" fmla="*/ 382313 w 475125"/>
                <a:gd name="connsiteY50" fmla="*/ 65113 h 415424"/>
                <a:gd name="connsiteX51" fmla="*/ 375097 w 475125"/>
                <a:gd name="connsiteY51" fmla="*/ 81856 h 415424"/>
                <a:gd name="connsiteX52" fmla="*/ 236411 w 475125"/>
                <a:gd name="connsiteY52" fmla="*/ 137113 h 415424"/>
                <a:gd name="connsiteX53" fmla="*/ 231663 w 475125"/>
                <a:gd name="connsiteY53" fmla="*/ 138029 h 415424"/>
                <a:gd name="connsiteX54" fmla="*/ 226889 w 475125"/>
                <a:gd name="connsiteY54" fmla="*/ 137113 h 415424"/>
                <a:gd name="connsiteX55" fmla="*/ 88473 w 475125"/>
                <a:gd name="connsiteY55" fmla="*/ 81778 h 415424"/>
                <a:gd name="connsiteX56" fmla="*/ 81336 w 475125"/>
                <a:gd name="connsiteY56" fmla="*/ 74695 h 415424"/>
                <a:gd name="connsiteX57" fmla="*/ 88357 w 475125"/>
                <a:gd name="connsiteY57" fmla="*/ 57870 h 415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475125" h="415424">
                  <a:moveTo>
                    <a:pt x="10450" y="292297"/>
                  </a:moveTo>
                  <a:lnTo>
                    <a:pt x="220699" y="375447"/>
                  </a:lnTo>
                  <a:lnTo>
                    <a:pt x="220699" y="382372"/>
                  </a:lnTo>
                  <a:lnTo>
                    <a:pt x="8095" y="298293"/>
                  </a:lnTo>
                  <a:close/>
                  <a:moveTo>
                    <a:pt x="8276" y="269627"/>
                  </a:moveTo>
                  <a:lnTo>
                    <a:pt x="220699" y="355047"/>
                  </a:lnTo>
                  <a:lnTo>
                    <a:pt x="220699" y="361998"/>
                  </a:lnTo>
                  <a:lnTo>
                    <a:pt x="5882" y="275611"/>
                  </a:lnTo>
                  <a:close/>
                  <a:moveTo>
                    <a:pt x="356540" y="129801"/>
                  </a:moveTo>
                  <a:lnTo>
                    <a:pt x="471561" y="169880"/>
                  </a:lnTo>
                  <a:cubicBezTo>
                    <a:pt x="473931" y="183681"/>
                    <a:pt x="475124" y="197659"/>
                    <a:pt x="475125" y="211662"/>
                  </a:cubicBezTo>
                  <a:cubicBezTo>
                    <a:pt x="475125" y="219322"/>
                    <a:pt x="474752" y="226904"/>
                    <a:pt x="474070" y="234397"/>
                  </a:cubicBezTo>
                  <a:lnTo>
                    <a:pt x="230993" y="415321"/>
                  </a:lnTo>
                  <a:lnTo>
                    <a:pt x="230993" y="415424"/>
                  </a:lnTo>
                  <a:lnTo>
                    <a:pt x="17772" y="331100"/>
                  </a:lnTo>
                  <a:cubicBezTo>
                    <a:pt x="14615" y="325443"/>
                    <a:pt x="11676" y="319662"/>
                    <a:pt x="8957" y="313756"/>
                  </a:cubicBezTo>
                  <a:lnTo>
                    <a:pt x="230993" y="401535"/>
                  </a:lnTo>
                  <a:lnTo>
                    <a:pt x="230993" y="344795"/>
                  </a:lnTo>
                  <a:lnTo>
                    <a:pt x="231302" y="344576"/>
                  </a:lnTo>
                  <a:lnTo>
                    <a:pt x="0" y="249575"/>
                  </a:lnTo>
                  <a:lnTo>
                    <a:pt x="105948" y="181680"/>
                  </a:lnTo>
                  <a:lnTo>
                    <a:pt x="105948" y="196987"/>
                  </a:lnTo>
                  <a:lnTo>
                    <a:pt x="27809" y="247060"/>
                  </a:lnTo>
                  <a:lnTo>
                    <a:pt x="230182" y="330223"/>
                  </a:lnTo>
                  <a:lnTo>
                    <a:pt x="448500" y="175477"/>
                  </a:lnTo>
                  <a:lnTo>
                    <a:pt x="356540" y="143406"/>
                  </a:lnTo>
                  <a:close/>
                  <a:moveTo>
                    <a:pt x="118817" y="100863"/>
                  </a:moveTo>
                  <a:lnTo>
                    <a:pt x="224508" y="143109"/>
                  </a:lnTo>
                  <a:cubicBezTo>
                    <a:pt x="229094" y="144939"/>
                    <a:pt x="234205" y="144939"/>
                    <a:pt x="238792" y="143109"/>
                  </a:cubicBezTo>
                  <a:lnTo>
                    <a:pt x="343672" y="101314"/>
                  </a:lnTo>
                  <a:lnTo>
                    <a:pt x="343672" y="203795"/>
                  </a:lnTo>
                  <a:lnTo>
                    <a:pt x="343543" y="203898"/>
                  </a:lnTo>
                  <a:cubicBezTo>
                    <a:pt x="343672" y="204633"/>
                    <a:pt x="343672" y="205368"/>
                    <a:pt x="343672" y="206103"/>
                  </a:cubicBezTo>
                  <a:cubicBezTo>
                    <a:pt x="343672" y="233816"/>
                    <a:pt x="293329" y="258859"/>
                    <a:pt x="231238" y="258859"/>
                  </a:cubicBezTo>
                  <a:cubicBezTo>
                    <a:pt x="169146" y="258859"/>
                    <a:pt x="118817" y="233816"/>
                    <a:pt x="118817" y="206103"/>
                  </a:cubicBezTo>
                  <a:cubicBezTo>
                    <a:pt x="118817" y="205242"/>
                    <a:pt x="118865" y="204381"/>
                    <a:pt x="118959" y="203524"/>
                  </a:cubicBezTo>
                  <a:lnTo>
                    <a:pt x="118817" y="203382"/>
                  </a:lnTo>
                  <a:close/>
                  <a:moveTo>
                    <a:pt x="88164" y="88535"/>
                  </a:moveTo>
                  <a:lnTo>
                    <a:pt x="101032" y="93693"/>
                  </a:lnTo>
                  <a:lnTo>
                    <a:pt x="101032" y="132148"/>
                  </a:lnTo>
                  <a:lnTo>
                    <a:pt x="106463" y="157358"/>
                  </a:lnTo>
                  <a:cubicBezTo>
                    <a:pt x="106615" y="158110"/>
                    <a:pt x="106692" y="158875"/>
                    <a:pt x="106696" y="159642"/>
                  </a:cubicBezTo>
                  <a:cubicBezTo>
                    <a:pt x="106723" y="166152"/>
                    <a:pt x="101480" y="171451"/>
                    <a:pt x="94984" y="171479"/>
                  </a:cubicBezTo>
                  <a:lnTo>
                    <a:pt x="94263" y="171479"/>
                  </a:lnTo>
                  <a:cubicBezTo>
                    <a:pt x="93276" y="171479"/>
                    <a:pt x="92295" y="171359"/>
                    <a:pt x="91336" y="171124"/>
                  </a:cubicBezTo>
                  <a:cubicBezTo>
                    <a:pt x="84715" y="169501"/>
                    <a:pt x="80663" y="162807"/>
                    <a:pt x="82283" y="156172"/>
                  </a:cubicBezTo>
                  <a:lnTo>
                    <a:pt x="88164" y="132083"/>
                  </a:lnTo>
                  <a:close/>
                  <a:moveTo>
                    <a:pt x="226593" y="962"/>
                  </a:moveTo>
                  <a:cubicBezTo>
                    <a:pt x="229718" y="-321"/>
                    <a:pt x="233221" y="-321"/>
                    <a:pt x="236347" y="962"/>
                  </a:cubicBezTo>
                  <a:lnTo>
                    <a:pt x="375226" y="57934"/>
                  </a:lnTo>
                  <a:cubicBezTo>
                    <a:pt x="378464" y="59263"/>
                    <a:pt x="381023" y="61855"/>
                    <a:pt x="382313" y="65113"/>
                  </a:cubicBezTo>
                  <a:cubicBezTo>
                    <a:pt x="384934" y="71734"/>
                    <a:pt x="381704" y="79229"/>
                    <a:pt x="375097" y="81856"/>
                  </a:cubicBezTo>
                  <a:lnTo>
                    <a:pt x="236411" y="137113"/>
                  </a:lnTo>
                  <a:cubicBezTo>
                    <a:pt x="234902" y="137722"/>
                    <a:pt x="233289" y="138034"/>
                    <a:pt x="231663" y="138029"/>
                  </a:cubicBezTo>
                  <a:cubicBezTo>
                    <a:pt x="230029" y="138027"/>
                    <a:pt x="228408" y="137716"/>
                    <a:pt x="226889" y="137113"/>
                  </a:cubicBezTo>
                  <a:lnTo>
                    <a:pt x="88473" y="81778"/>
                  </a:lnTo>
                  <a:cubicBezTo>
                    <a:pt x="85234" y="80484"/>
                    <a:pt x="82659" y="77928"/>
                    <a:pt x="81336" y="74695"/>
                  </a:cubicBezTo>
                  <a:cubicBezTo>
                    <a:pt x="78637" y="68105"/>
                    <a:pt x="81781" y="60573"/>
                    <a:pt x="88357" y="57870"/>
                  </a:cubicBezTo>
                  <a:close/>
                </a:path>
              </a:pathLst>
            </a:custGeom>
            <a:solidFill>
              <a:srgbClr val="025EA1"/>
            </a:solidFill>
            <a:ln w="12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65" name="Группа 64">
            <a:extLst>
              <a:ext uri="{FF2B5EF4-FFF2-40B4-BE49-F238E27FC236}">
                <a16:creationId xmlns:a16="http://schemas.microsoft.com/office/drawing/2014/main" id="{79F2B516-7D73-D4E2-7611-0CDE46D92844}"/>
              </a:ext>
            </a:extLst>
          </p:cNvPr>
          <p:cNvGrpSpPr/>
          <p:nvPr/>
        </p:nvGrpSpPr>
        <p:grpSpPr>
          <a:xfrm>
            <a:off x="394399" y="4793412"/>
            <a:ext cx="514522" cy="503872"/>
            <a:chOff x="10413428" y="4581299"/>
            <a:chExt cx="723599" cy="723600"/>
          </a:xfrm>
        </p:grpSpPr>
        <p:pic>
          <p:nvPicPr>
            <p:cNvPr id="66" name="Рисунок 65">
              <a:extLst>
                <a:ext uri="{FF2B5EF4-FFF2-40B4-BE49-F238E27FC236}">
                  <a16:creationId xmlns:a16="http://schemas.microsoft.com/office/drawing/2014/main" id="{D2F2A5C5-B6BC-05B5-658B-7301C2FBE25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/>
            <a:stretch/>
          </p:blipFill>
          <p:spPr>
            <a:xfrm>
              <a:off x="10413428" y="4581299"/>
              <a:ext cx="723599" cy="723600"/>
            </a:xfrm>
            <a:prstGeom prst="rect">
              <a:avLst/>
            </a:prstGeom>
          </p:spPr>
        </p:pic>
        <p:sp>
          <p:nvSpPr>
            <p:cNvPr id="84" name="Полилиния 422">
              <a:extLst>
                <a:ext uri="{FF2B5EF4-FFF2-40B4-BE49-F238E27FC236}">
                  <a16:creationId xmlns:a16="http://schemas.microsoft.com/office/drawing/2014/main" id="{6B451263-890C-1A8D-1845-6E878C2E5FDB}"/>
                </a:ext>
              </a:extLst>
            </p:cNvPr>
            <p:cNvSpPr/>
            <p:nvPr/>
          </p:nvSpPr>
          <p:spPr>
            <a:xfrm>
              <a:off x="10576173" y="4693891"/>
              <a:ext cx="398109" cy="426490"/>
            </a:xfrm>
            <a:custGeom>
              <a:avLst/>
              <a:gdLst>
                <a:gd name="connsiteX0" fmla="*/ 204803 w 398109"/>
                <a:gd name="connsiteY0" fmla="*/ 192820 h 426490"/>
                <a:gd name="connsiteX1" fmla="*/ 184213 w 398109"/>
                <a:gd name="connsiteY1" fmla="*/ 201121 h 426490"/>
                <a:gd name="connsiteX2" fmla="*/ 180082 w 398109"/>
                <a:gd name="connsiteY2" fmla="*/ 202503 h 426490"/>
                <a:gd name="connsiteX3" fmla="*/ 178201 w 398109"/>
                <a:gd name="connsiteY3" fmla="*/ 203108 h 426490"/>
                <a:gd name="connsiteX4" fmla="*/ 176398 w 398109"/>
                <a:gd name="connsiteY4" fmla="*/ 203661 h 426490"/>
                <a:gd name="connsiteX5" fmla="*/ 164571 w 398109"/>
                <a:gd name="connsiteY5" fmla="*/ 206858 h 426490"/>
                <a:gd name="connsiteX6" fmla="*/ 171083 w 398109"/>
                <a:gd name="connsiteY6" fmla="*/ 216593 h 426490"/>
                <a:gd name="connsiteX7" fmla="*/ 172820 w 398109"/>
                <a:gd name="connsiteY7" fmla="*/ 218738 h 426490"/>
                <a:gd name="connsiteX8" fmla="*/ 173741 w 398109"/>
                <a:gd name="connsiteY8" fmla="*/ 219817 h 426490"/>
                <a:gd name="connsiteX9" fmla="*/ 174754 w 398109"/>
                <a:gd name="connsiteY9" fmla="*/ 220948 h 426490"/>
                <a:gd name="connsiteX10" fmla="*/ 175793 w 398109"/>
                <a:gd name="connsiteY10" fmla="*/ 222066 h 426490"/>
                <a:gd name="connsiteX11" fmla="*/ 176517 w 398109"/>
                <a:gd name="connsiteY11" fmla="*/ 222803 h 426490"/>
                <a:gd name="connsiteX12" fmla="*/ 178806 w 398109"/>
                <a:gd name="connsiteY12" fmla="*/ 225000 h 426490"/>
                <a:gd name="connsiteX13" fmla="*/ 179319 w 398109"/>
                <a:gd name="connsiteY13" fmla="*/ 225461 h 426490"/>
                <a:gd name="connsiteX14" fmla="*/ 184226 w 398109"/>
                <a:gd name="connsiteY14" fmla="*/ 229276 h 426490"/>
                <a:gd name="connsiteX15" fmla="*/ 203185 w 398109"/>
                <a:gd name="connsiteY15" fmla="*/ 235538 h 426490"/>
                <a:gd name="connsiteX16" fmla="*/ 213894 w 398109"/>
                <a:gd name="connsiteY16" fmla="*/ 233591 h 426490"/>
                <a:gd name="connsiteX17" fmla="*/ 216091 w 398109"/>
                <a:gd name="connsiteY17" fmla="*/ 232683 h 426490"/>
                <a:gd name="connsiteX18" fmla="*/ 216815 w 398109"/>
                <a:gd name="connsiteY18" fmla="*/ 232355 h 426490"/>
                <a:gd name="connsiteX19" fmla="*/ 218683 w 398109"/>
                <a:gd name="connsiteY19" fmla="*/ 231407 h 426490"/>
                <a:gd name="connsiteX20" fmla="*/ 219630 w 398109"/>
                <a:gd name="connsiteY20" fmla="*/ 230868 h 426490"/>
                <a:gd name="connsiteX21" fmla="*/ 220998 w 398109"/>
                <a:gd name="connsiteY21" fmla="*/ 230039 h 426490"/>
                <a:gd name="connsiteX22" fmla="*/ 222077 w 398109"/>
                <a:gd name="connsiteY22" fmla="*/ 229342 h 426490"/>
                <a:gd name="connsiteX23" fmla="*/ 223103 w 398109"/>
                <a:gd name="connsiteY23" fmla="*/ 228618 h 426490"/>
                <a:gd name="connsiteX24" fmla="*/ 225064 w 398109"/>
                <a:gd name="connsiteY24" fmla="*/ 227131 h 426490"/>
                <a:gd name="connsiteX25" fmla="*/ 225735 w 398109"/>
                <a:gd name="connsiteY25" fmla="*/ 226592 h 426490"/>
                <a:gd name="connsiteX26" fmla="*/ 227063 w 398109"/>
                <a:gd name="connsiteY26" fmla="*/ 225461 h 426490"/>
                <a:gd name="connsiteX27" fmla="*/ 227050 w 398109"/>
                <a:gd name="connsiteY27" fmla="*/ 225447 h 426490"/>
                <a:gd name="connsiteX28" fmla="*/ 242285 w 398109"/>
                <a:gd name="connsiteY28" fmla="*/ 206029 h 426490"/>
                <a:gd name="connsiteX29" fmla="*/ 220669 w 398109"/>
                <a:gd name="connsiteY29" fmla="*/ 199345 h 426490"/>
                <a:gd name="connsiteX30" fmla="*/ 220446 w 398109"/>
                <a:gd name="connsiteY30" fmla="*/ 199266 h 426490"/>
                <a:gd name="connsiteX31" fmla="*/ 213907 w 398109"/>
                <a:gd name="connsiteY31" fmla="*/ 196727 h 426490"/>
                <a:gd name="connsiteX32" fmla="*/ 204803 w 398109"/>
                <a:gd name="connsiteY32" fmla="*/ 192820 h 426490"/>
                <a:gd name="connsiteX33" fmla="*/ 68424 w 398109"/>
                <a:gd name="connsiteY33" fmla="*/ 173769 h 426490"/>
                <a:gd name="connsiteX34" fmla="*/ 84330 w 398109"/>
                <a:gd name="connsiteY34" fmla="*/ 173769 h 426490"/>
                <a:gd name="connsiteX35" fmla="*/ 85817 w 398109"/>
                <a:gd name="connsiteY35" fmla="*/ 174756 h 426490"/>
                <a:gd name="connsiteX36" fmla="*/ 86659 w 398109"/>
                <a:gd name="connsiteY36" fmla="*/ 186925 h 426490"/>
                <a:gd name="connsiteX37" fmla="*/ 75002 w 398109"/>
                <a:gd name="connsiteY37" fmla="*/ 186925 h 426490"/>
                <a:gd name="connsiteX38" fmla="*/ 75002 w 398109"/>
                <a:gd name="connsiteY38" fmla="*/ 391980 h 426490"/>
                <a:gd name="connsiteX39" fmla="*/ 104670 w 398109"/>
                <a:gd name="connsiteY39" fmla="*/ 391980 h 426490"/>
                <a:gd name="connsiteX40" fmla="*/ 104670 w 398109"/>
                <a:gd name="connsiteY40" fmla="*/ 210291 h 426490"/>
                <a:gd name="connsiteX41" fmla="*/ 117826 w 398109"/>
                <a:gd name="connsiteY41" fmla="*/ 215185 h 426490"/>
                <a:gd name="connsiteX42" fmla="*/ 117826 w 398109"/>
                <a:gd name="connsiteY42" fmla="*/ 368457 h 426490"/>
                <a:gd name="connsiteX43" fmla="*/ 171070 w 398109"/>
                <a:gd name="connsiteY43" fmla="*/ 368457 h 426490"/>
                <a:gd name="connsiteX44" fmla="*/ 171070 w 398109"/>
                <a:gd name="connsiteY44" fmla="*/ 235972 h 426490"/>
                <a:gd name="connsiteX45" fmla="*/ 184227 w 398109"/>
                <a:gd name="connsiteY45" fmla="*/ 244577 h 426490"/>
                <a:gd name="connsiteX46" fmla="*/ 184227 w 398109"/>
                <a:gd name="connsiteY46" fmla="*/ 391967 h 426490"/>
                <a:gd name="connsiteX47" fmla="*/ 213894 w 398109"/>
                <a:gd name="connsiteY47" fmla="*/ 391967 h 426490"/>
                <a:gd name="connsiteX48" fmla="*/ 213894 w 398109"/>
                <a:gd name="connsiteY48" fmla="*/ 247537 h 426490"/>
                <a:gd name="connsiteX49" fmla="*/ 227050 w 398109"/>
                <a:gd name="connsiteY49" fmla="*/ 241998 h 426490"/>
                <a:gd name="connsiteX50" fmla="*/ 227050 w 398109"/>
                <a:gd name="connsiteY50" fmla="*/ 368444 h 426490"/>
                <a:gd name="connsiteX51" fmla="*/ 280294 w 398109"/>
                <a:gd name="connsiteY51" fmla="*/ 368444 h 426490"/>
                <a:gd name="connsiteX52" fmla="*/ 280294 w 398109"/>
                <a:gd name="connsiteY52" fmla="*/ 227907 h 426490"/>
                <a:gd name="connsiteX53" fmla="*/ 282768 w 398109"/>
                <a:gd name="connsiteY53" fmla="*/ 228052 h 426490"/>
                <a:gd name="connsiteX54" fmla="*/ 293451 w 398109"/>
                <a:gd name="connsiteY54" fmla="*/ 225513 h 426490"/>
                <a:gd name="connsiteX55" fmla="*/ 293451 w 398109"/>
                <a:gd name="connsiteY55" fmla="*/ 391954 h 426490"/>
                <a:gd name="connsiteX56" fmla="*/ 323118 w 398109"/>
                <a:gd name="connsiteY56" fmla="*/ 391954 h 426490"/>
                <a:gd name="connsiteX57" fmla="*/ 323118 w 398109"/>
                <a:gd name="connsiteY57" fmla="*/ 186925 h 426490"/>
                <a:gd name="connsiteX58" fmla="*/ 322750 w 398109"/>
                <a:gd name="connsiteY58" fmla="*/ 186925 h 426490"/>
                <a:gd name="connsiteX59" fmla="*/ 323645 w 398109"/>
                <a:gd name="connsiteY59" fmla="*/ 173769 h 426490"/>
                <a:gd name="connsiteX60" fmla="*/ 329696 w 398109"/>
                <a:gd name="connsiteY60" fmla="*/ 173769 h 426490"/>
                <a:gd name="connsiteX61" fmla="*/ 336275 w 398109"/>
                <a:gd name="connsiteY61" fmla="*/ 180347 h 426490"/>
                <a:gd name="connsiteX62" fmla="*/ 336275 w 398109"/>
                <a:gd name="connsiteY62" fmla="*/ 370154 h 426490"/>
                <a:gd name="connsiteX63" fmla="*/ 336275 w 398109"/>
                <a:gd name="connsiteY63" fmla="*/ 370167 h 426490"/>
                <a:gd name="connsiteX64" fmla="*/ 375652 w 398109"/>
                <a:gd name="connsiteY64" fmla="*/ 426490 h 426490"/>
                <a:gd name="connsiteX65" fmla="*/ 22469 w 398109"/>
                <a:gd name="connsiteY65" fmla="*/ 426490 h 426490"/>
                <a:gd name="connsiteX66" fmla="*/ 37691 w 398109"/>
                <a:gd name="connsiteY66" fmla="*/ 385442 h 426490"/>
                <a:gd name="connsiteX67" fmla="*/ 61846 w 398109"/>
                <a:gd name="connsiteY67" fmla="*/ 370167 h 426490"/>
                <a:gd name="connsiteX68" fmla="*/ 61846 w 398109"/>
                <a:gd name="connsiteY68" fmla="*/ 180347 h 426490"/>
                <a:gd name="connsiteX69" fmla="*/ 68424 w 398109"/>
                <a:gd name="connsiteY69" fmla="*/ 173769 h 426490"/>
                <a:gd name="connsiteX70" fmla="*/ 257902 w 398109"/>
                <a:gd name="connsiteY70" fmla="*/ 160587 h 426490"/>
                <a:gd name="connsiteX71" fmla="*/ 246377 w 398109"/>
                <a:gd name="connsiteY71" fmla="*/ 169046 h 426490"/>
                <a:gd name="connsiteX72" fmla="*/ 227050 w 398109"/>
                <a:gd name="connsiteY72" fmla="*/ 181295 h 426490"/>
                <a:gd name="connsiteX73" fmla="*/ 213907 w 398109"/>
                <a:gd name="connsiteY73" fmla="*/ 188425 h 426490"/>
                <a:gd name="connsiteX74" fmla="*/ 212841 w 398109"/>
                <a:gd name="connsiteY74" fmla="*/ 188965 h 426490"/>
                <a:gd name="connsiteX75" fmla="*/ 213907 w 398109"/>
                <a:gd name="connsiteY75" fmla="*/ 189412 h 426490"/>
                <a:gd name="connsiteX76" fmla="*/ 227063 w 398109"/>
                <a:gd name="connsiteY76" fmla="*/ 194451 h 426490"/>
                <a:gd name="connsiteX77" fmla="*/ 245561 w 398109"/>
                <a:gd name="connsiteY77" fmla="*/ 199871 h 426490"/>
                <a:gd name="connsiteX78" fmla="*/ 245535 w 398109"/>
                <a:gd name="connsiteY78" fmla="*/ 199858 h 426490"/>
                <a:gd name="connsiteX79" fmla="*/ 257902 w 398109"/>
                <a:gd name="connsiteY79" fmla="*/ 160587 h 426490"/>
                <a:gd name="connsiteX80" fmla="*/ 148033 w 398109"/>
                <a:gd name="connsiteY80" fmla="*/ 158100 h 426490"/>
                <a:gd name="connsiteX81" fmla="*/ 148073 w 398109"/>
                <a:gd name="connsiteY81" fmla="*/ 158311 h 426490"/>
                <a:gd name="connsiteX82" fmla="*/ 148046 w 398109"/>
                <a:gd name="connsiteY82" fmla="*/ 158311 h 426490"/>
                <a:gd name="connsiteX83" fmla="*/ 161203 w 398109"/>
                <a:gd name="connsiteY83" fmla="*/ 200687 h 426490"/>
                <a:gd name="connsiteX84" fmla="*/ 171044 w 398109"/>
                <a:gd name="connsiteY84" fmla="*/ 198187 h 426490"/>
                <a:gd name="connsiteX85" fmla="*/ 184200 w 398109"/>
                <a:gd name="connsiteY85" fmla="*/ 193938 h 426490"/>
                <a:gd name="connsiteX86" fmla="*/ 196698 w 398109"/>
                <a:gd name="connsiteY86" fmla="*/ 189004 h 426490"/>
                <a:gd name="connsiteX87" fmla="*/ 192620 w 398109"/>
                <a:gd name="connsiteY87" fmla="*/ 186912 h 426490"/>
                <a:gd name="connsiteX88" fmla="*/ 189357 w 398109"/>
                <a:gd name="connsiteY88" fmla="*/ 185202 h 426490"/>
                <a:gd name="connsiteX89" fmla="*/ 184792 w 398109"/>
                <a:gd name="connsiteY89" fmla="*/ 182716 h 426490"/>
                <a:gd name="connsiteX90" fmla="*/ 178951 w 398109"/>
                <a:gd name="connsiteY90" fmla="*/ 179348 h 426490"/>
                <a:gd name="connsiteX91" fmla="*/ 178503 w 398109"/>
                <a:gd name="connsiteY91" fmla="*/ 179071 h 426490"/>
                <a:gd name="connsiteX92" fmla="*/ 148033 w 398109"/>
                <a:gd name="connsiteY92" fmla="*/ 158100 h 426490"/>
                <a:gd name="connsiteX93" fmla="*/ 120181 w 398109"/>
                <a:gd name="connsiteY93" fmla="*/ 131945 h 426490"/>
                <a:gd name="connsiteX94" fmla="*/ 118287 w 398109"/>
                <a:gd name="connsiteY94" fmla="*/ 134340 h 426490"/>
                <a:gd name="connsiteX95" fmla="*/ 118260 w 398109"/>
                <a:gd name="connsiteY95" fmla="*/ 134340 h 426490"/>
                <a:gd name="connsiteX96" fmla="*/ 111722 w 398109"/>
                <a:gd name="connsiteY96" fmla="*/ 143523 h 426490"/>
                <a:gd name="connsiteX97" fmla="*/ 115497 w 398109"/>
                <a:gd name="connsiteY97" fmla="*/ 154311 h 426490"/>
                <a:gd name="connsiteX98" fmla="*/ 115379 w 398109"/>
                <a:gd name="connsiteY98" fmla="*/ 156298 h 426490"/>
                <a:gd name="connsiteX99" fmla="*/ 115353 w 398109"/>
                <a:gd name="connsiteY99" fmla="*/ 156455 h 426490"/>
                <a:gd name="connsiteX100" fmla="*/ 115024 w 398109"/>
                <a:gd name="connsiteY100" fmla="*/ 158311 h 426490"/>
                <a:gd name="connsiteX101" fmla="*/ 99605 w 398109"/>
                <a:gd name="connsiteY101" fmla="*/ 171559 h 426490"/>
                <a:gd name="connsiteX102" fmla="*/ 99170 w 398109"/>
                <a:gd name="connsiteY102" fmla="*/ 174730 h 426490"/>
                <a:gd name="connsiteX103" fmla="*/ 99039 w 398109"/>
                <a:gd name="connsiteY103" fmla="*/ 177348 h 426490"/>
                <a:gd name="connsiteX104" fmla="*/ 99039 w 398109"/>
                <a:gd name="connsiteY104" fmla="*/ 177900 h 426490"/>
                <a:gd name="connsiteX105" fmla="*/ 99118 w 398109"/>
                <a:gd name="connsiteY105" fmla="*/ 180019 h 426490"/>
                <a:gd name="connsiteX106" fmla="*/ 99210 w 398109"/>
                <a:gd name="connsiteY106" fmla="*/ 181018 h 426490"/>
                <a:gd name="connsiteX107" fmla="*/ 99381 w 398109"/>
                <a:gd name="connsiteY107" fmla="*/ 182308 h 426490"/>
                <a:gd name="connsiteX108" fmla="*/ 99710 w 398109"/>
                <a:gd name="connsiteY108" fmla="*/ 184058 h 426490"/>
                <a:gd name="connsiteX109" fmla="*/ 99776 w 398109"/>
                <a:gd name="connsiteY109" fmla="*/ 184321 h 426490"/>
                <a:gd name="connsiteX110" fmla="*/ 100565 w 398109"/>
                <a:gd name="connsiteY110" fmla="*/ 186912 h 426490"/>
                <a:gd name="connsiteX111" fmla="*/ 105157 w 398109"/>
                <a:gd name="connsiteY111" fmla="*/ 194188 h 426490"/>
                <a:gd name="connsiteX112" fmla="*/ 106380 w 398109"/>
                <a:gd name="connsiteY112" fmla="*/ 195333 h 426490"/>
                <a:gd name="connsiteX113" fmla="*/ 106617 w 398109"/>
                <a:gd name="connsiteY113" fmla="*/ 195530 h 426490"/>
                <a:gd name="connsiteX114" fmla="*/ 107709 w 398109"/>
                <a:gd name="connsiteY114" fmla="*/ 196411 h 426490"/>
                <a:gd name="connsiteX115" fmla="*/ 107919 w 398109"/>
                <a:gd name="connsiteY115" fmla="*/ 196556 h 426490"/>
                <a:gd name="connsiteX116" fmla="*/ 109156 w 398109"/>
                <a:gd name="connsiteY116" fmla="*/ 197424 h 426490"/>
                <a:gd name="connsiteX117" fmla="*/ 109288 w 398109"/>
                <a:gd name="connsiteY117" fmla="*/ 197503 h 426490"/>
                <a:gd name="connsiteX118" fmla="*/ 110695 w 398109"/>
                <a:gd name="connsiteY118" fmla="*/ 198359 h 426490"/>
                <a:gd name="connsiteX119" fmla="*/ 110735 w 398109"/>
                <a:gd name="connsiteY119" fmla="*/ 198385 h 426490"/>
                <a:gd name="connsiteX120" fmla="*/ 117839 w 398109"/>
                <a:gd name="connsiteY120" fmla="*/ 201371 h 426490"/>
                <a:gd name="connsiteX121" fmla="*/ 135745 w 398109"/>
                <a:gd name="connsiteY121" fmla="*/ 203726 h 426490"/>
                <a:gd name="connsiteX122" fmla="*/ 154388 w 398109"/>
                <a:gd name="connsiteY122" fmla="*/ 202016 h 426490"/>
                <a:gd name="connsiteX123" fmla="*/ 141271 w 398109"/>
                <a:gd name="connsiteY123" fmla="*/ 158297 h 426490"/>
                <a:gd name="connsiteX124" fmla="*/ 140337 w 398109"/>
                <a:gd name="connsiteY124" fmla="*/ 151693 h 426490"/>
                <a:gd name="connsiteX125" fmla="*/ 120181 w 398109"/>
                <a:gd name="connsiteY125" fmla="*/ 131945 h 426490"/>
                <a:gd name="connsiteX126" fmla="*/ 289161 w 398109"/>
                <a:gd name="connsiteY126" fmla="*/ 131629 h 426490"/>
                <a:gd name="connsiteX127" fmla="*/ 265717 w 398109"/>
                <a:gd name="connsiteY127" fmla="*/ 154311 h 426490"/>
                <a:gd name="connsiteX128" fmla="*/ 265098 w 398109"/>
                <a:gd name="connsiteY128" fmla="*/ 158297 h 426490"/>
                <a:gd name="connsiteX129" fmla="*/ 252337 w 398109"/>
                <a:gd name="connsiteY129" fmla="*/ 201306 h 426490"/>
                <a:gd name="connsiteX130" fmla="*/ 265546 w 398109"/>
                <a:gd name="connsiteY130" fmla="*/ 203108 h 426490"/>
                <a:gd name="connsiteX131" fmla="*/ 282767 w 398109"/>
                <a:gd name="connsiteY131" fmla="*/ 186926 h 426490"/>
                <a:gd name="connsiteX132" fmla="*/ 298897 w 398109"/>
                <a:gd name="connsiteY132" fmla="*/ 198016 h 426490"/>
                <a:gd name="connsiteX133" fmla="*/ 309080 w 398109"/>
                <a:gd name="connsiteY133" fmla="*/ 186281 h 426490"/>
                <a:gd name="connsiteX134" fmla="*/ 309699 w 398109"/>
                <a:gd name="connsiteY134" fmla="*/ 184150 h 426490"/>
                <a:gd name="connsiteX135" fmla="*/ 309817 w 398109"/>
                <a:gd name="connsiteY135" fmla="*/ 183650 h 426490"/>
                <a:gd name="connsiteX136" fmla="*/ 310172 w 398109"/>
                <a:gd name="connsiteY136" fmla="*/ 181650 h 426490"/>
                <a:gd name="connsiteX137" fmla="*/ 310277 w 398109"/>
                <a:gd name="connsiteY137" fmla="*/ 180755 h 426490"/>
                <a:gd name="connsiteX138" fmla="*/ 310383 w 398109"/>
                <a:gd name="connsiteY138" fmla="*/ 179400 h 426490"/>
                <a:gd name="connsiteX139" fmla="*/ 310435 w 398109"/>
                <a:gd name="connsiteY139" fmla="*/ 177545 h 426490"/>
                <a:gd name="connsiteX140" fmla="*/ 310435 w 398109"/>
                <a:gd name="connsiteY140" fmla="*/ 176835 h 426490"/>
                <a:gd name="connsiteX141" fmla="*/ 310225 w 398109"/>
                <a:gd name="connsiteY141" fmla="*/ 173756 h 426490"/>
                <a:gd name="connsiteX142" fmla="*/ 305883 w 398109"/>
                <a:gd name="connsiteY142" fmla="*/ 158297 h 426490"/>
                <a:gd name="connsiteX143" fmla="*/ 300331 w 398109"/>
                <a:gd name="connsiteY143" fmla="*/ 147496 h 426490"/>
                <a:gd name="connsiteX144" fmla="*/ 299844 w 398109"/>
                <a:gd name="connsiteY144" fmla="*/ 146667 h 426490"/>
                <a:gd name="connsiteX145" fmla="*/ 298647 w 398109"/>
                <a:gd name="connsiteY145" fmla="*/ 144746 h 426490"/>
                <a:gd name="connsiteX146" fmla="*/ 297647 w 398109"/>
                <a:gd name="connsiteY146" fmla="*/ 143194 h 426490"/>
                <a:gd name="connsiteX147" fmla="*/ 296568 w 398109"/>
                <a:gd name="connsiteY147" fmla="*/ 141562 h 426490"/>
                <a:gd name="connsiteX148" fmla="*/ 295148 w 398109"/>
                <a:gd name="connsiteY148" fmla="*/ 139510 h 426490"/>
                <a:gd name="connsiteX149" fmla="*/ 294240 w 398109"/>
                <a:gd name="connsiteY149" fmla="*/ 138234 h 426490"/>
                <a:gd name="connsiteX150" fmla="*/ 291701 w 398109"/>
                <a:gd name="connsiteY150" fmla="*/ 134813 h 426490"/>
                <a:gd name="connsiteX151" fmla="*/ 289175 w 398109"/>
                <a:gd name="connsiteY151" fmla="*/ 131629 h 426490"/>
                <a:gd name="connsiteX152" fmla="*/ 307909 w 398109"/>
                <a:gd name="connsiteY152" fmla="*/ 118131 h 426490"/>
                <a:gd name="connsiteX153" fmla="*/ 375099 w 398109"/>
                <a:gd name="connsiteY153" fmla="*/ 154127 h 426490"/>
                <a:gd name="connsiteX154" fmla="*/ 375112 w 398109"/>
                <a:gd name="connsiteY154" fmla="*/ 154127 h 426490"/>
                <a:gd name="connsiteX155" fmla="*/ 374257 w 398109"/>
                <a:gd name="connsiteY155" fmla="*/ 158311 h 426490"/>
                <a:gd name="connsiteX156" fmla="*/ 320237 w 398109"/>
                <a:gd name="connsiteY156" fmla="*/ 158311 h 426490"/>
                <a:gd name="connsiteX157" fmla="*/ 302002 w 398109"/>
                <a:gd name="connsiteY157" fmla="*/ 126393 h 426490"/>
                <a:gd name="connsiteX158" fmla="*/ 307909 w 398109"/>
                <a:gd name="connsiteY158" fmla="*/ 118131 h 426490"/>
                <a:gd name="connsiteX159" fmla="*/ 97789 w 398109"/>
                <a:gd name="connsiteY159" fmla="*/ 113000 h 426490"/>
                <a:gd name="connsiteX160" fmla="*/ 107288 w 398109"/>
                <a:gd name="connsiteY160" fmla="*/ 126762 h 426490"/>
                <a:gd name="connsiteX161" fmla="*/ 104051 w 398109"/>
                <a:gd name="connsiteY161" fmla="*/ 131143 h 426490"/>
                <a:gd name="connsiteX162" fmla="*/ 98197 w 398109"/>
                <a:gd name="connsiteY162" fmla="*/ 130419 h 426490"/>
                <a:gd name="connsiteX163" fmla="*/ 74305 w 398109"/>
                <a:gd name="connsiteY163" fmla="*/ 154311 h 426490"/>
                <a:gd name="connsiteX164" fmla="*/ 74318 w 398109"/>
                <a:gd name="connsiteY164" fmla="*/ 154298 h 426490"/>
                <a:gd name="connsiteX165" fmla="*/ 74660 w 398109"/>
                <a:gd name="connsiteY165" fmla="*/ 158297 h 426490"/>
                <a:gd name="connsiteX166" fmla="*/ 21495 w 398109"/>
                <a:gd name="connsiteY166" fmla="*/ 158297 h 426490"/>
                <a:gd name="connsiteX167" fmla="*/ 20640 w 398109"/>
                <a:gd name="connsiteY167" fmla="*/ 154114 h 426490"/>
                <a:gd name="connsiteX168" fmla="*/ 139337 w 398109"/>
                <a:gd name="connsiteY168" fmla="*/ 111566 h 426490"/>
                <a:gd name="connsiteX169" fmla="*/ 124562 w 398109"/>
                <a:gd name="connsiteY169" fmla="*/ 126722 h 426490"/>
                <a:gd name="connsiteX170" fmla="*/ 139363 w 398109"/>
                <a:gd name="connsiteY170" fmla="*/ 141812 h 426490"/>
                <a:gd name="connsiteX171" fmla="*/ 138810 w 398109"/>
                <a:gd name="connsiteY171" fmla="*/ 126564 h 426490"/>
                <a:gd name="connsiteX172" fmla="*/ 139350 w 398109"/>
                <a:gd name="connsiteY172" fmla="*/ 111566 h 426490"/>
                <a:gd name="connsiteX173" fmla="*/ 266809 w 398109"/>
                <a:gd name="connsiteY173" fmla="*/ 108461 h 426490"/>
                <a:gd name="connsiteX174" fmla="*/ 267598 w 398109"/>
                <a:gd name="connsiteY174" fmla="*/ 126564 h 426490"/>
                <a:gd name="connsiteX175" fmla="*/ 266835 w 398109"/>
                <a:gd name="connsiteY175" fmla="*/ 144431 h 426490"/>
                <a:gd name="connsiteX176" fmla="*/ 284767 w 398109"/>
                <a:gd name="connsiteY176" fmla="*/ 126406 h 426490"/>
                <a:gd name="connsiteX177" fmla="*/ 266809 w 398109"/>
                <a:gd name="connsiteY177" fmla="*/ 108461 h 426490"/>
                <a:gd name="connsiteX178" fmla="*/ 319040 w 398109"/>
                <a:gd name="connsiteY178" fmla="*/ 97133 h 426490"/>
                <a:gd name="connsiteX179" fmla="*/ 394623 w 398109"/>
                <a:gd name="connsiteY179" fmla="*/ 137457 h 426490"/>
                <a:gd name="connsiteX180" fmla="*/ 397333 w 398109"/>
                <a:gd name="connsiteY180" fmla="*/ 146351 h 426490"/>
                <a:gd name="connsiteX181" fmla="*/ 391518 w 398109"/>
                <a:gd name="connsiteY181" fmla="*/ 149837 h 426490"/>
                <a:gd name="connsiteX182" fmla="*/ 388426 w 398109"/>
                <a:gd name="connsiteY182" fmla="*/ 149061 h 426490"/>
                <a:gd name="connsiteX183" fmla="*/ 313422 w 398109"/>
                <a:gd name="connsiteY183" fmla="*/ 109053 h 426490"/>
                <a:gd name="connsiteX184" fmla="*/ 319040 w 398109"/>
                <a:gd name="connsiteY184" fmla="*/ 97133 h 426490"/>
                <a:gd name="connsiteX185" fmla="*/ 88080 w 398109"/>
                <a:gd name="connsiteY185" fmla="*/ 91871 h 426490"/>
                <a:gd name="connsiteX186" fmla="*/ 88080 w 398109"/>
                <a:gd name="connsiteY186" fmla="*/ 91884 h 426490"/>
                <a:gd name="connsiteX187" fmla="*/ 92974 w 398109"/>
                <a:gd name="connsiteY187" fmla="*/ 104185 h 426490"/>
                <a:gd name="connsiteX188" fmla="*/ 9694 w 398109"/>
                <a:gd name="connsiteY188" fmla="*/ 149049 h 426490"/>
                <a:gd name="connsiteX189" fmla="*/ 787 w 398109"/>
                <a:gd name="connsiteY189" fmla="*/ 146378 h 426490"/>
                <a:gd name="connsiteX190" fmla="*/ 3458 w 398109"/>
                <a:gd name="connsiteY190" fmla="*/ 137471 h 426490"/>
                <a:gd name="connsiteX191" fmla="*/ 190068 w 398109"/>
                <a:gd name="connsiteY191" fmla="*/ 90371 h 426490"/>
                <a:gd name="connsiteX192" fmla="*/ 218657 w 398109"/>
                <a:gd name="connsiteY192" fmla="*/ 90371 h 426490"/>
                <a:gd name="connsiteX193" fmla="*/ 219591 w 398109"/>
                <a:gd name="connsiteY193" fmla="*/ 91305 h 426490"/>
                <a:gd name="connsiteX194" fmla="*/ 219591 w 398109"/>
                <a:gd name="connsiteY194" fmla="*/ 109961 h 426490"/>
                <a:gd name="connsiteX195" fmla="*/ 220525 w 398109"/>
                <a:gd name="connsiteY195" fmla="*/ 110895 h 426490"/>
                <a:gd name="connsiteX196" fmla="*/ 239181 w 398109"/>
                <a:gd name="connsiteY196" fmla="*/ 110895 h 426490"/>
                <a:gd name="connsiteX197" fmla="*/ 240115 w 398109"/>
                <a:gd name="connsiteY197" fmla="*/ 111829 h 426490"/>
                <a:gd name="connsiteX198" fmla="*/ 240115 w 398109"/>
                <a:gd name="connsiteY198" fmla="*/ 140418 h 426490"/>
                <a:gd name="connsiteX199" fmla="*/ 239181 w 398109"/>
                <a:gd name="connsiteY199" fmla="*/ 141352 h 426490"/>
                <a:gd name="connsiteX200" fmla="*/ 220525 w 398109"/>
                <a:gd name="connsiteY200" fmla="*/ 141352 h 426490"/>
                <a:gd name="connsiteX201" fmla="*/ 219591 w 398109"/>
                <a:gd name="connsiteY201" fmla="*/ 142286 h 426490"/>
                <a:gd name="connsiteX202" fmla="*/ 219591 w 398109"/>
                <a:gd name="connsiteY202" fmla="*/ 160942 h 426490"/>
                <a:gd name="connsiteX203" fmla="*/ 218657 w 398109"/>
                <a:gd name="connsiteY203" fmla="*/ 161876 h 426490"/>
                <a:gd name="connsiteX204" fmla="*/ 190068 w 398109"/>
                <a:gd name="connsiteY204" fmla="*/ 161876 h 426490"/>
                <a:gd name="connsiteX205" fmla="*/ 189134 w 398109"/>
                <a:gd name="connsiteY205" fmla="*/ 160942 h 426490"/>
                <a:gd name="connsiteX206" fmla="*/ 189134 w 398109"/>
                <a:gd name="connsiteY206" fmla="*/ 142286 h 426490"/>
                <a:gd name="connsiteX207" fmla="*/ 188200 w 398109"/>
                <a:gd name="connsiteY207" fmla="*/ 141352 h 426490"/>
                <a:gd name="connsiteX208" fmla="*/ 169544 w 398109"/>
                <a:gd name="connsiteY208" fmla="*/ 141352 h 426490"/>
                <a:gd name="connsiteX209" fmla="*/ 168610 w 398109"/>
                <a:gd name="connsiteY209" fmla="*/ 140418 h 426490"/>
                <a:gd name="connsiteX210" fmla="*/ 168610 w 398109"/>
                <a:gd name="connsiteY210" fmla="*/ 111829 h 426490"/>
                <a:gd name="connsiteX211" fmla="*/ 169544 w 398109"/>
                <a:gd name="connsiteY211" fmla="*/ 110895 h 426490"/>
                <a:gd name="connsiteX212" fmla="*/ 188200 w 398109"/>
                <a:gd name="connsiteY212" fmla="*/ 110895 h 426490"/>
                <a:gd name="connsiteX213" fmla="*/ 189134 w 398109"/>
                <a:gd name="connsiteY213" fmla="*/ 109961 h 426490"/>
                <a:gd name="connsiteX214" fmla="*/ 189134 w 398109"/>
                <a:gd name="connsiteY214" fmla="*/ 91305 h 426490"/>
                <a:gd name="connsiteX215" fmla="*/ 190068 w 398109"/>
                <a:gd name="connsiteY215" fmla="*/ 90371 h 426490"/>
                <a:gd name="connsiteX216" fmla="*/ 204566 w 398109"/>
                <a:gd name="connsiteY216" fmla="*/ 67782 h 426490"/>
                <a:gd name="connsiteX217" fmla="*/ 166781 w 398109"/>
                <a:gd name="connsiteY217" fmla="*/ 89647 h 426490"/>
                <a:gd name="connsiteX218" fmla="*/ 166807 w 398109"/>
                <a:gd name="connsiteY218" fmla="*/ 89674 h 426490"/>
                <a:gd name="connsiteX219" fmla="*/ 146731 w 398109"/>
                <a:gd name="connsiteY219" fmla="*/ 105093 h 426490"/>
                <a:gd name="connsiteX220" fmla="*/ 145586 w 398109"/>
                <a:gd name="connsiteY220" fmla="*/ 126604 h 426490"/>
                <a:gd name="connsiteX221" fmla="*/ 146744 w 398109"/>
                <a:gd name="connsiteY221" fmla="*/ 148338 h 426490"/>
                <a:gd name="connsiteX222" fmla="*/ 152677 w 398109"/>
                <a:gd name="connsiteY222" fmla="*/ 153166 h 426490"/>
                <a:gd name="connsiteX223" fmla="*/ 153414 w 398109"/>
                <a:gd name="connsiteY223" fmla="*/ 153745 h 426490"/>
                <a:gd name="connsiteX224" fmla="*/ 159427 w 398109"/>
                <a:gd name="connsiteY224" fmla="*/ 158324 h 426490"/>
                <a:gd name="connsiteX225" fmla="*/ 182792 w 398109"/>
                <a:gd name="connsiteY225" fmla="*/ 173782 h 426490"/>
                <a:gd name="connsiteX226" fmla="*/ 188121 w 398109"/>
                <a:gd name="connsiteY226" fmla="*/ 176848 h 426490"/>
                <a:gd name="connsiteX227" fmla="*/ 204776 w 398109"/>
                <a:gd name="connsiteY227" fmla="*/ 185399 h 426490"/>
                <a:gd name="connsiteX228" fmla="*/ 209671 w 398109"/>
                <a:gd name="connsiteY228" fmla="*/ 183018 h 426490"/>
                <a:gd name="connsiteX229" fmla="*/ 210157 w 398109"/>
                <a:gd name="connsiteY229" fmla="*/ 182768 h 426490"/>
                <a:gd name="connsiteX230" fmla="*/ 214604 w 398109"/>
                <a:gd name="connsiteY230" fmla="*/ 180479 h 426490"/>
                <a:gd name="connsiteX231" fmla="*/ 214644 w 398109"/>
                <a:gd name="connsiteY231" fmla="*/ 180453 h 426490"/>
                <a:gd name="connsiteX232" fmla="*/ 224379 w 398109"/>
                <a:gd name="connsiteY232" fmla="*/ 175059 h 426490"/>
                <a:gd name="connsiteX233" fmla="*/ 242562 w 398109"/>
                <a:gd name="connsiteY233" fmla="*/ 163507 h 426490"/>
                <a:gd name="connsiteX234" fmla="*/ 249784 w 398109"/>
                <a:gd name="connsiteY234" fmla="*/ 158297 h 426490"/>
                <a:gd name="connsiteX235" fmla="*/ 254481 w 398109"/>
                <a:gd name="connsiteY235" fmla="*/ 154719 h 426490"/>
                <a:gd name="connsiteX236" fmla="*/ 254718 w 398109"/>
                <a:gd name="connsiteY236" fmla="*/ 154535 h 426490"/>
                <a:gd name="connsiteX237" fmla="*/ 259389 w 398109"/>
                <a:gd name="connsiteY237" fmla="*/ 150798 h 426490"/>
                <a:gd name="connsiteX238" fmla="*/ 260836 w 398109"/>
                <a:gd name="connsiteY238" fmla="*/ 126577 h 426490"/>
                <a:gd name="connsiteX239" fmla="*/ 259362 w 398109"/>
                <a:gd name="connsiteY239" fmla="*/ 102159 h 426490"/>
                <a:gd name="connsiteX240" fmla="*/ 221222 w 398109"/>
                <a:gd name="connsiteY240" fmla="*/ 76333 h 426490"/>
                <a:gd name="connsiteX241" fmla="*/ 204566 w 398109"/>
                <a:gd name="connsiteY241" fmla="*/ 67782 h 426490"/>
                <a:gd name="connsiteX242" fmla="*/ 245469 w 398109"/>
                <a:gd name="connsiteY242" fmla="*/ 53046 h 426490"/>
                <a:gd name="connsiteX243" fmla="*/ 239417 w 398109"/>
                <a:gd name="connsiteY243" fmla="*/ 54625 h 426490"/>
                <a:gd name="connsiteX244" fmla="*/ 235168 w 398109"/>
                <a:gd name="connsiteY244" fmla="*/ 55862 h 426490"/>
                <a:gd name="connsiteX245" fmla="*/ 235141 w 398109"/>
                <a:gd name="connsiteY245" fmla="*/ 55862 h 426490"/>
                <a:gd name="connsiteX246" fmla="*/ 230892 w 398109"/>
                <a:gd name="connsiteY246" fmla="*/ 57204 h 426490"/>
                <a:gd name="connsiteX247" fmla="*/ 230800 w 398109"/>
                <a:gd name="connsiteY247" fmla="*/ 57230 h 426490"/>
                <a:gd name="connsiteX248" fmla="*/ 226563 w 398109"/>
                <a:gd name="connsiteY248" fmla="*/ 58677 h 426490"/>
                <a:gd name="connsiteX249" fmla="*/ 226445 w 398109"/>
                <a:gd name="connsiteY249" fmla="*/ 58717 h 426490"/>
                <a:gd name="connsiteX250" fmla="*/ 222103 w 398109"/>
                <a:gd name="connsiteY250" fmla="*/ 60309 h 426490"/>
                <a:gd name="connsiteX251" fmla="*/ 212605 w 398109"/>
                <a:gd name="connsiteY251" fmla="*/ 64137 h 426490"/>
                <a:gd name="connsiteX252" fmla="*/ 224524 w 398109"/>
                <a:gd name="connsiteY252" fmla="*/ 70426 h 426490"/>
                <a:gd name="connsiteX253" fmla="*/ 257915 w 398109"/>
                <a:gd name="connsiteY253" fmla="*/ 92397 h 426490"/>
                <a:gd name="connsiteX254" fmla="*/ 257678 w 398109"/>
                <a:gd name="connsiteY254" fmla="*/ 91174 h 426490"/>
                <a:gd name="connsiteX255" fmla="*/ 254600 w 398109"/>
                <a:gd name="connsiteY255" fmla="*/ 77636 h 426490"/>
                <a:gd name="connsiteX256" fmla="*/ 253284 w 398109"/>
                <a:gd name="connsiteY256" fmla="*/ 73084 h 426490"/>
                <a:gd name="connsiteX257" fmla="*/ 253205 w 398109"/>
                <a:gd name="connsiteY257" fmla="*/ 72820 h 426490"/>
                <a:gd name="connsiteX258" fmla="*/ 251758 w 398109"/>
                <a:gd name="connsiteY258" fmla="*/ 68360 h 426490"/>
                <a:gd name="connsiteX259" fmla="*/ 251705 w 398109"/>
                <a:gd name="connsiteY259" fmla="*/ 68203 h 426490"/>
                <a:gd name="connsiteX260" fmla="*/ 250087 w 398109"/>
                <a:gd name="connsiteY260" fmla="*/ 63756 h 426490"/>
                <a:gd name="connsiteX261" fmla="*/ 248324 w 398109"/>
                <a:gd name="connsiteY261" fmla="*/ 59388 h 426490"/>
                <a:gd name="connsiteX262" fmla="*/ 248337 w 398109"/>
                <a:gd name="connsiteY262" fmla="*/ 59375 h 426490"/>
                <a:gd name="connsiteX263" fmla="*/ 245469 w 398109"/>
                <a:gd name="connsiteY263" fmla="*/ 53046 h 426490"/>
                <a:gd name="connsiteX264" fmla="*/ 161137 w 398109"/>
                <a:gd name="connsiteY264" fmla="*/ 52678 h 426490"/>
                <a:gd name="connsiteX265" fmla="*/ 159005 w 398109"/>
                <a:gd name="connsiteY265" fmla="*/ 57217 h 426490"/>
                <a:gd name="connsiteX266" fmla="*/ 157348 w 398109"/>
                <a:gd name="connsiteY266" fmla="*/ 61138 h 426490"/>
                <a:gd name="connsiteX267" fmla="*/ 157058 w 398109"/>
                <a:gd name="connsiteY267" fmla="*/ 61822 h 426490"/>
                <a:gd name="connsiteX268" fmla="*/ 153611 w 398109"/>
                <a:gd name="connsiteY268" fmla="*/ 71518 h 426490"/>
                <a:gd name="connsiteX269" fmla="*/ 149941 w 398109"/>
                <a:gd name="connsiteY269" fmla="*/ 85240 h 426490"/>
                <a:gd name="connsiteX270" fmla="*/ 148928 w 398109"/>
                <a:gd name="connsiteY270" fmla="*/ 90108 h 426490"/>
                <a:gd name="connsiteX271" fmla="*/ 148941 w 398109"/>
                <a:gd name="connsiteY271" fmla="*/ 90108 h 426490"/>
                <a:gd name="connsiteX272" fmla="*/ 148033 w 398109"/>
                <a:gd name="connsiteY272" fmla="*/ 95213 h 426490"/>
                <a:gd name="connsiteX273" fmla="*/ 162939 w 398109"/>
                <a:gd name="connsiteY273" fmla="*/ 84095 h 426490"/>
                <a:gd name="connsiteX274" fmla="*/ 196488 w 398109"/>
                <a:gd name="connsiteY274" fmla="*/ 64164 h 426490"/>
                <a:gd name="connsiteX275" fmla="*/ 179293 w 398109"/>
                <a:gd name="connsiteY275" fmla="*/ 57677 h 426490"/>
                <a:gd name="connsiteX276" fmla="*/ 170215 w 398109"/>
                <a:gd name="connsiteY276" fmla="*/ 54928 h 426490"/>
                <a:gd name="connsiteX277" fmla="*/ 170070 w 398109"/>
                <a:gd name="connsiteY277" fmla="*/ 54888 h 426490"/>
                <a:gd name="connsiteX278" fmla="*/ 166031 w 398109"/>
                <a:gd name="connsiteY278" fmla="*/ 53836 h 426490"/>
                <a:gd name="connsiteX279" fmla="*/ 165531 w 398109"/>
                <a:gd name="connsiteY279" fmla="*/ 53704 h 426490"/>
                <a:gd name="connsiteX280" fmla="*/ 161137 w 398109"/>
                <a:gd name="connsiteY280" fmla="*/ 52678 h 426490"/>
                <a:gd name="connsiteX281" fmla="*/ 273532 w 398109"/>
                <a:gd name="connsiteY281" fmla="*/ 49455 h 426490"/>
                <a:gd name="connsiteX282" fmla="*/ 252192 w 398109"/>
                <a:gd name="connsiteY282" fmla="*/ 51652 h 426490"/>
                <a:gd name="connsiteX283" fmla="*/ 265112 w 398109"/>
                <a:gd name="connsiteY283" fmla="*/ 95252 h 426490"/>
                <a:gd name="connsiteX284" fmla="*/ 265651 w 398109"/>
                <a:gd name="connsiteY284" fmla="*/ 98699 h 426490"/>
                <a:gd name="connsiteX285" fmla="*/ 289096 w 398109"/>
                <a:gd name="connsiteY285" fmla="*/ 121236 h 426490"/>
                <a:gd name="connsiteX286" fmla="*/ 290990 w 398109"/>
                <a:gd name="connsiteY286" fmla="*/ 118841 h 426490"/>
                <a:gd name="connsiteX287" fmla="*/ 293529 w 398109"/>
                <a:gd name="connsiteY287" fmla="*/ 115460 h 426490"/>
                <a:gd name="connsiteX288" fmla="*/ 293792 w 398109"/>
                <a:gd name="connsiteY288" fmla="*/ 115092 h 426490"/>
                <a:gd name="connsiteX289" fmla="*/ 296082 w 398109"/>
                <a:gd name="connsiteY289" fmla="*/ 111829 h 426490"/>
                <a:gd name="connsiteX290" fmla="*/ 301660 w 398109"/>
                <a:gd name="connsiteY290" fmla="*/ 102817 h 426490"/>
                <a:gd name="connsiteX291" fmla="*/ 303265 w 398109"/>
                <a:gd name="connsiteY291" fmla="*/ 99791 h 426490"/>
                <a:gd name="connsiteX292" fmla="*/ 303357 w 398109"/>
                <a:gd name="connsiteY292" fmla="*/ 99607 h 426490"/>
                <a:gd name="connsiteX293" fmla="*/ 304686 w 398109"/>
                <a:gd name="connsiteY293" fmla="*/ 96857 h 426490"/>
                <a:gd name="connsiteX294" fmla="*/ 304844 w 398109"/>
                <a:gd name="connsiteY294" fmla="*/ 96502 h 426490"/>
                <a:gd name="connsiteX295" fmla="*/ 305988 w 398109"/>
                <a:gd name="connsiteY295" fmla="*/ 93871 h 426490"/>
                <a:gd name="connsiteX296" fmla="*/ 306081 w 398109"/>
                <a:gd name="connsiteY296" fmla="*/ 93647 h 426490"/>
                <a:gd name="connsiteX297" fmla="*/ 307159 w 398109"/>
                <a:gd name="connsiteY297" fmla="*/ 90845 h 426490"/>
                <a:gd name="connsiteX298" fmla="*/ 310080 w 398109"/>
                <a:gd name="connsiteY298" fmla="*/ 78451 h 426490"/>
                <a:gd name="connsiteX299" fmla="*/ 304107 w 398109"/>
                <a:gd name="connsiteY299" fmla="*/ 58993 h 426490"/>
                <a:gd name="connsiteX300" fmla="*/ 273532 w 398109"/>
                <a:gd name="connsiteY300" fmla="*/ 49455 h 426490"/>
                <a:gd name="connsiteX301" fmla="*/ 203211 w 398109"/>
                <a:gd name="connsiteY301" fmla="*/ 17603 h 426490"/>
                <a:gd name="connsiteX302" fmla="*/ 202053 w 398109"/>
                <a:gd name="connsiteY302" fmla="*/ 17630 h 426490"/>
                <a:gd name="connsiteX303" fmla="*/ 184753 w 398109"/>
                <a:gd name="connsiteY303" fmla="*/ 34562 h 426490"/>
                <a:gd name="connsiteX304" fmla="*/ 175201 w 398109"/>
                <a:gd name="connsiteY304" fmla="*/ 31694 h 426490"/>
                <a:gd name="connsiteX305" fmla="*/ 175214 w 398109"/>
                <a:gd name="connsiteY305" fmla="*/ 31667 h 426490"/>
                <a:gd name="connsiteX306" fmla="*/ 164465 w 398109"/>
                <a:gd name="connsiteY306" fmla="*/ 46455 h 426490"/>
                <a:gd name="connsiteX307" fmla="*/ 187384 w 398109"/>
                <a:gd name="connsiteY307" fmla="*/ 53283 h 426490"/>
                <a:gd name="connsiteX308" fmla="*/ 204540 w 398109"/>
                <a:gd name="connsiteY308" fmla="*/ 60282 h 426490"/>
                <a:gd name="connsiteX309" fmla="*/ 214446 w 398109"/>
                <a:gd name="connsiteY309" fmla="*/ 56007 h 426490"/>
                <a:gd name="connsiteX310" fmla="*/ 218591 w 398109"/>
                <a:gd name="connsiteY310" fmla="*/ 54375 h 426490"/>
                <a:gd name="connsiteX311" fmla="*/ 221709 w 398109"/>
                <a:gd name="connsiteY311" fmla="*/ 53217 h 426490"/>
                <a:gd name="connsiteX312" fmla="*/ 222788 w 398109"/>
                <a:gd name="connsiteY312" fmla="*/ 52823 h 426490"/>
                <a:gd name="connsiteX313" fmla="*/ 226656 w 398109"/>
                <a:gd name="connsiteY313" fmla="*/ 51481 h 426490"/>
                <a:gd name="connsiteX314" fmla="*/ 226853 w 398109"/>
                <a:gd name="connsiteY314" fmla="*/ 51415 h 426490"/>
                <a:gd name="connsiteX315" fmla="*/ 242193 w 398109"/>
                <a:gd name="connsiteY315" fmla="*/ 46889 h 426490"/>
                <a:gd name="connsiteX316" fmla="*/ 203211 w 398109"/>
                <a:gd name="connsiteY316" fmla="*/ 17603 h 426490"/>
                <a:gd name="connsiteX317" fmla="*/ 184700 w 398109"/>
                <a:gd name="connsiteY317" fmla="*/ 0 h 426490"/>
                <a:gd name="connsiteX318" fmla="*/ 200816 w 398109"/>
                <a:gd name="connsiteY318" fmla="*/ 10999 h 426490"/>
                <a:gd name="connsiteX319" fmla="*/ 203145 w 398109"/>
                <a:gd name="connsiteY319" fmla="*/ 10920 h 426490"/>
                <a:gd name="connsiteX320" fmla="*/ 248995 w 398109"/>
                <a:gd name="connsiteY320" fmla="*/ 45403 h 426490"/>
                <a:gd name="connsiteX321" fmla="*/ 273532 w 398109"/>
                <a:gd name="connsiteY321" fmla="*/ 42706 h 426490"/>
                <a:gd name="connsiteX322" fmla="*/ 308922 w 398109"/>
                <a:gd name="connsiteY322" fmla="*/ 54270 h 426490"/>
                <a:gd name="connsiteX323" fmla="*/ 313145 w 398109"/>
                <a:gd name="connsiteY323" fmla="*/ 94055 h 426490"/>
                <a:gd name="connsiteX324" fmla="*/ 302041 w 398109"/>
                <a:gd name="connsiteY324" fmla="*/ 115039 h 426490"/>
                <a:gd name="connsiteX325" fmla="*/ 298121 w 398109"/>
                <a:gd name="connsiteY325" fmla="*/ 120578 h 426490"/>
                <a:gd name="connsiteX326" fmla="*/ 297989 w 398109"/>
                <a:gd name="connsiteY326" fmla="*/ 120762 h 426490"/>
                <a:gd name="connsiteX327" fmla="*/ 296095 w 398109"/>
                <a:gd name="connsiteY327" fmla="*/ 123236 h 426490"/>
                <a:gd name="connsiteX328" fmla="*/ 295792 w 398109"/>
                <a:gd name="connsiteY328" fmla="*/ 123630 h 426490"/>
                <a:gd name="connsiteX329" fmla="*/ 293542 w 398109"/>
                <a:gd name="connsiteY329" fmla="*/ 126446 h 426490"/>
                <a:gd name="connsiteX330" fmla="*/ 296674 w 398109"/>
                <a:gd name="connsiteY330" fmla="*/ 130366 h 426490"/>
                <a:gd name="connsiteX331" fmla="*/ 296845 w 398109"/>
                <a:gd name="connsiteY331" fmla="*/ 130577 h 426490"/>
                <a:gd name="connsiteX332" fmla="*/ 299673 w 398109"/>
                <a:gd name="connsiteY332" fmla="*/ 134366 h 426490"/>
                <a:gd name="connsiteX333" fmla="*/ 299910 w 398109"/>
                <a:gd name="connsiteY333" fmla="*/ 134695 h 426490"/>
                <a:gd name="connsiteX334" fmla="*/ 302502 w 398109"/>
                <a:gd name="connsiteY334" fmla="*/ 138418 h 426490"/>
                <a:gd name="connsiteX335" fmla="*/ 302739 w 398109"/>
                <a:gd name="connsiteY335" fmla="*/ 138773 h 426490"/>
                <a:gd name="connsiteX336" fmla="*/ 305107 w 398109"/>
                <a:gd name="connsiteY336" fmla="*/ 142470 h 426490"/>
                <a:gd name="connsiteX337" fmla="*/ 305317 w 398109"/>
                <a:gd name="connsiteY337" fmla="*/ 142799 h 426490"/>
                <a:gd name="connsiteX338" fmla="*/ 307501 w 398109"/>
                <a:gd name="connsiteY338" fmla="*/ 146509 h 426490"/>
                <a:gd name="connsiteX339" fmla="*/ 307659 w 398109"/>
                <a:gd name="connsiteY339" fmla="*/ 146786 h 426490"/>
                <a:gd name="connsiteX340" fmla="*/ 309646 w 398109"/>
                <a:gd name="connsiteY340" fmla="*/ 150509 h 426490"/>
                <a:gd name="connsiteX341" fmla="*/ 309751 w 398109"/>
                <a:gd name="connsiteY341" fmla="*/ 150706 h 426490"/>
                <a:gd name="connsiteX342" fmla="*/ 311540 w 398109"/>
                <a:gd name="connsiteY342" fmla="*/ 154456 h 426490"/>
                <a:gd name="connsiteX343" fmla="*/ 311593 w 398109"/>
                <a:gd name="connsiteY343" fmla="*/ 154561 h 426490"/>
                <a:gd name="connsiteX344" fmla="*/ 317013 w 398109"/>
                <a:gd name="connsiteY344" fmla="*/ 173796 h 426490"/>
                <a:gd name="connsiteX345" fmla="*/ 315974 w 398109"/>
                <a:gd name="connsiteY345" fmla="*/ 186847 h 426490"/>
                <a:gd name="connsiteX346" fmla="*/ 315948 w 398109"/>
                <a:gd name="connsiteY346" fmla="*/ 186939 h 426490"/>
                <a:gd name="connsiteX347" fmla="*/ 315422 w 398109"/>
                <a:gd name="connsiteY347" fmla="*/ 188570 h 426490"/>
                <a:gd name="connsiteX348" fmla="*/ 299989 w 398109"/>
                <a:gd name="connsiteY348" fmla="*/ 205081 h 426490"/>
                <a:gd name="connsiteX349" fmla="*/ 282741 w 398109"/>
                <a:gd name="connsiteY349" fmla="*/ 221487 h 426490"/>
                <a:gd name="connsiteX350" fmla="*/ 266467 w 398109"/>
                <a:gd name="connsiteY350" fmla="*/ 209989 h 426490"/>
                <a:gd name="connsiteX351" fmla="*/ 249127 w 398109"/>
                <a:gd name="connsiteY351" fmla="*/ 207607 h 426490"/>
                <a:gd name="connsiteX352" fmla="*/ 227024 w 398109"/>
                <a:gd name="connsiteY352" fmla="*/ 234091 h 426490"/>
                <a:gd name="connsiteX353" fmla="*/ 226971 w 398109"/>
                <a:gd name="connsiteY353" fmla="*/ 234131 h 426490"/>
                <a:gd name="connsiteX354" fmla="*/ 225485 w 398109"/>
                <a:gd name="connsiteY354" fmla="*/ 235157 h 426490"/>
                <a:gd name="connsiteX355" fmla="*/ 225156 w 398109"/>
                <a:gd name="connsiteY355" fmla="*/ 235367 h 426490"/>
                <a:gd name="connsiteX356" fmla="*/ 223906 w 398109"/>
                <a:gd name="connsiteY356" fmla="*/ 236157 h 426490"/>
                <a:gd name="connsiteX357" fmla="*/ 223577 w 398109"/>
                <a:gd name="connsiteY357" fmla="*/ 236354 h 426490"/>
                <a:gd name="connsiteX358" fmla="*/ 222288 w 398109"/>
                <a:gd name="connsiteY358" fmla="*/ 237104 h 426490"/>
                <a:gd name="connsiteX359" fmla="*/ 222011 w 398109"/>
                <a:gd name="connsiteY359" fmla="*/ 237249 h 426490"/>
                <a:gd name="connsiteX360" fmla="*/ 220643 w 398109"/>
                <a:gd name="connsiteY360" fmla="*/ 237972 h 426490"/>
                <a:gd name="connsiteX361" fmla="*/ 220446 w 398109"/>
                <a:gd name="connsiteY361" fmla="*/ 238064 h 426490"/>
                <a:gd name="connsiteX362" fmla="*/ 218972 w 398109"/>
                <a:gd name="connsiteY362" fmla="*/ 238775 h 426490"/>
                <a:gd name="connsiteX363" fmla="*/ 218841 w 398109"/>
                <a:gd name="connsiteY363" fmla="*/ 238827 h 426490"/>
                <a:gd name="connsiteX364" fmla="*/ 217275 w 398109"/>
                <a:gd name="connsiteY364" fmla="*/ 239498 h 426490"/>
                <a:gd name="connsiteX365" fmla="*/ 217209 w 398109"/>
                <a:gd name="connsiteY365" fmla="*/ 239525 h 426490"/>
                <a:gd name="connsiteX366" fmla="*/ 215565 w 398109"/>
                <a:gd name="connsiteY366" fmla="*/ 240143 h 426490"/>
                <a:gd name="connsiteX367" fmla="*/ 213868 w 398109"/>
                <a:gd name="connsiteY367" fmla="*/ 240696 h 426490"/>
                <a:gd name="connsiteX368" fmla="*/ 203158 w 398109"/>
                <a:gd name="connsiteY368" fmla="*/ 242301 h 426490"/>
                <a:gd name="connsiteX369" fmla="*/ 180779 w 398109"/>
                <a:gd name="connsiteY369" fmla="*/ 235117 h 426490"/>
                <a:gd name="connsiteX370" fmla="*/ 180687 w 398109"/>
                <a:gd name="connsiteY370" fmla="*/ 235052 h 426490"/>
                <a:gd name="connsiteX371" fmla="*/ 179201 w 398109"/>
                <a:gd name="connsiteY371" fmla="*/ 234012 h 426490"/>
                <a:gd name="connsiteX372" fmla="*/ 178845 w 398109"/>
                <a:gd name="connsiteY372" fmla="*/ 233749 h 426490"/>
                <a:gd name="connsiteX373" fmla="*/ 177622 w 398109"/>
                <a:gd name="connsiteY373" fmla="*/ 232828 h 426490"/>
                <a:gd name="connsiteX374" fmla="*/ 177174 w 398109"/>
                <a:gd name="connsiteY374" fmla="*/ 232473 h 426490"/>
                <a:gd name="connsiteX375" fmla="*/ 176056 w 398109"/>
                <a:gd name="connsiteY375" fmla="*/ 231565 h 426490"/>
                <a:gd name="connsiteX376" fmla="*/ 175583 w 398109"/>
                <a:gd name="connsiteY376" fmla="*/ 231170 h 426490"/>
                <a:gd name="connsiteX377" fmla="*/ 174477 w 398109"/>
                <a:gd name="connsiteY377" fmla="*/ 230210 h 426490"/>
                <a:gd name="connsiteX378" fmla="*/ 174030 w 398109"/>
                <a:gd name="connsiteY378" fmla="*/ 229815 h 426490"/>
                <a:gd name="connsiteX379" fmla="*/ 172846 w 398109"/>
                <a:gd name="connsiteY379" fmla="*/ 228697 h 426490"/>
                <a:gd name="connsiteX380" fmla="*/ 172530 w 398109"/>
                <a:gd name="connsiteY380" fmla="*/ 228394 h 426490"/>
                <a:gd name="connsiteX381" fmla="*/ 157571 w 398109"/>
                <a:gd name="connsiteY381" fmla="*/ 208318 h 426490"/>
                <a:gd name="connsiteX382" fmla="*/ 135692 w 398109"/>
                <a:gd name="connsiteY382" fmla="*/ 210489 h 426490"/>
                <a:gd name="connsiteX383" fmla="*/ 117787 w 398109"/>
                <a:gd name="connsiteY383" fmla="*/ 208397 h 426490"/>
                <a:gd name="connsiteX384" fmla="*/ 114287 w 398109"/>
                <a:gd name="connsiteY384" fmla="*/ 207344 h 426490"/>
                <a:gd name="connsiteX385" fmla="*/ 113984 w 398109"/>
                <a:gd name="connsiteY385" fmla="*/ 207239 h 426490"/>
                <a:gd name="connsiteX386" fmla="*/ 107590 w 398109"/>
                <a:gd name="connsiteY386" fmla="*/ 204397 h 426490"/>
                <a:gd name="connsiteX387" fmla="*/ 107525 w 398109"/>
                <a:gd name="connsiteY387" fmla="*/ 204371 h 426490"/>
                <a:gd name="connsiteX388" fmla="*/ 104630 w 398109"/>
                <a:gd name="connsiteY388" fmla="*/ 202555 h 426490"/>
                <a:gd name="connsiteX389" fmla="*/ 100302 w 398109"/>
                <a:gd name="connsiteY389" fmla="*/ 198924 h 426490"/>
                <a:gd name="connsiteX390" fmla="*/ 93408 w 398109"/>
                <a:gd name="connsiteY390" fmla="*/ 186912 h 426490"/>
                <a:gd name="connsiteX391" fmla="*/ 93053 w 398109"/>
                <a:gd name="connsiteY391" fmla="*/ 185465 h 426490"/>
                <a:gd name="connsiteX392" fmla="*/ 93026 w 398109"/>
                <a:gd name="connsiteY392" fmla="*/ 185321 h 426490"/>
                <a:gd name="connsiteX393" fmla="*/ 92750 w 398109"/>
                <a:gd name="connsiteY393" fmla="*/ 183860 h 426490"/>
                <a:gd name="connsiteX394" fmla="*/ 92737 w 398109"/>
                <a:gd name="connsiteY394" fmla="*/ 183742 h 426490"/>
                <a:gd name="connsiteX395" fmla="*/ 92882 w 398109"/>
                <a:gd name="connsiteY395" fmla="*/ 170783 h 426490"/>
                <a:gd name="connsiteX396" fmla="*/ 81343 w 398109"/>
                <a:gd name="connsiteY396" fmla="*/ 158297 h 426490"/>
                <a:gd name="connsiteX397" fmla="*/ 81028 w 398109"/>
                <a:gd name="connsiteY397" fmla="*/ 156534 h 426490"/>
                <a:gd name="connsiteX398" fmla="*/ 80988 w 398109"/>
                <a:gd name="connsiteY398" fmla="*/ 156166 h 426490"/>
                <a:gd name="connsiteX399" fmla="*/ 80883 w 398109"/>
                <a:gd name="connsiteY399" fmla="*/ 154298 h 426490"/>
                <a:gd name="connsiteX400" fmla="*/ 98197 w 398109"/>
                <a:gd name="connsiteY400" fmla="*/ 136984 h 426490"/>
                <a:gd name="connsiteX401" fmla="*/ 106538 w 398109"/>
                <a:gd name="connsiteY401" fmla="*/ 139129 h 426490"/>
                <a:gd name="connsiteX402" fmla="*/ 115695 w 398109"/>
                <a:gd name="connsiteY402" fmla="*/ 126735 h 426490"/>
                <a:gd name="connsiteX403" fmla="*/ 112327 w 398109"/>
                <a:gd name="connsiteY403" fmla="*/ 122499 h 426490"/>
                <a:gd name="connsiteX404" fmla="*/ 97394 w 398109"/>
                <a:gd name="connsiteY404" fmla="*/ 97949 h 426490"/>
                <a:gd name="connsiteX405" fmla="*/ 97342 w 398109"/>
                <a:gd name="connsiteY405" fmla="*/ 97844 h 426490"/>
                <a:gd name="connsiteX406" fmla="*/ 96079 w 398109"/>
                <a:gd name="connsiteY406" fmla="*/ 94765 h 426490"/>
                <a:gd name="connsiteX407" fmla="*/ 94039 w 398109"/>
                <a:gd name="connsiteY407" fmla="*/ 88674 h 426490"/>
                <a:gd name="connsiteX408" fmla="*/ 94053 w 398109"/>
                <a:gd name="connsiteY408" fmla="*/ 88713 h 426490"/>
                <a:gd name="connsiteX409" fmla="*/ 93868 w 398109"/>
                <a:gd name="connsiteY409" fmla="*/ 64650 h 426490"/>
                <a:gd name="connsiteX410" fmla="*/ 108786 w 398109"/>
                <a:gd name="connsiteY410" fmla="*/ 48392 h 426490"/>
                <a:gd name="connsiteX411" fmla="*/ 135811 w 398109"/>
                <a:gd name="connsiteY411" fmla="*/ 43016 h 426490"/>
                <a:gd name="connsiteX412" fmla="*/ 135811 w 398109"/>
                <a:gd name="connsiteY412" fmla="*/ 49744 h 426490"/>
                <a:gd name="connsiteX413" fmla="*/ 135850 w 398109"/>
                <a:gd name="connsiteY413" fmla="*/ 49747 h 426490"/>
                <a:gd name="connsiteX414" fmla="*/ 135850 w 398109"/>
                <a:gd name="connsiteY414" fmla="*/ 49757 h 426490"/>
                <a:gd name="connsiteX415" fmla="*/ 111800 w 398109"/>
                <a:gd name="connsiteY415" fmla="*/ 54428 h 426490"/>
                <a:gd name="connsiteX416" fmla="*/ 100223 w 398109"/>
                <a:gd name="connsiteY416" fmla="*/ 66900 h 426490"/>
                <a:gd name="connsiteX417" fmla="*/ 100170 w 398109"/>
                <a:gd name="connsiteY417" fmla="*/ 85411 h 426490"/>
                <a:gd name="connsiteX418" fmla="*/ 100999 w 398109"/>
                <a:gd name="connsiteY418" fmla="*/ 88358 h 426490"/>
                <a:gd name="connsiteX419" fmla="*/ 101025 w 398109"/>
                <a:gd name="connsiteY419" fmla="*/ 88450 h 426490"/>
                <a:gd name="connsiteX420" fmla="*/ 102038 w 398109"/>
                <a:gd name="connsiteY420" fmla="*/ 91437 h 426490"/>
                <a:gd name="connsiteX421" fmla="*/ 102078 w 398109"/>
                <a:gd name="connsiteY421" fmla="*/ 91555 h 426490"/>
                <a:gd name="connsiteX422" fmla="*/ 103288 w 398109"/>
                <a:gd name="connsiteY422" fmla="*/ 94621 h 426490"/>
                <a:gd name="connsiteX423" fmla="*/ 103328 w 398109"/>
                <a:gd name="connsiteY423" fmla="*/ 94700 h 426490"/>
                <a:gd name="connsiteX424" fmla="*/ 104762 w 398109"/>
                <a:gd name="connsiteY424" fmla="*/ 97883 h 426490"/>
                <a:gd name="connsiteX425" fmla="*/ 109590 w 398109"/>
                <a:gd name="connsiteY425" fmla="*/ 106764 h 426490"/>
                <a:gd name="connsiteX426" fmla="*/ 110787 w 398109"/>
                <a:gd name="connsiteY426" fmla="*/ 108672 h 426490"/>
                <a:gd name="connsiteX427" fmla="*/ 111708 w 398109"/>
                <a:gd name="connsiteY427" fmla="*/ 110092 h 426490"/>
                <a:gd name="connsiteX428" fmla="*/ 112840 w 398109"/>
                <a:gd name="connsiteY428" fmla="*/ 111790 h 426490"/>
                <a:gd name="connsiteX429" fmla="*/ 114155 w 398109"/>
                <a:gd name="connsiteY429" fmla="*/ 113684 h 426490"/>
                <a:gd name="connsiteX430" fmla="*/ 115103 w 398109"/>
                <a:gd name="connsiteY430" fmla="*/ 115026 h 426490"/>
                <a:gd name="connsiteX431" fmla="*/ 117602 w 398109"/>
                <a:gd name="connsiteY431" fmla="*/ 118381 h 426490"/>
                <a:gd name="connsiteX432" fmla="*/ 120128 w 398109"/>
                <a:gd name="connsiteY432" fmla="*/ 121565 h 426490"/>
                <a:gd name="connsiteX433" fmla="*/ 140284 w 398109"/>
                <a:gd name="connsiteY433" fmla="*/ 101686 h 426490"/>
                <a:gd name="connsiteX434" fmla="*/ 141165 w 398109"/>
                <a:gd name="connsiteY434" fmla="*/ 95397 h 426490"/>
                <a:gd name="connsiteX435" fmla="*/ 142218 w 398109"/>
                <a:gd name="connsiteY435" fmla="*/ 89384 h 426490"/>
                <a:gd name="connsiteX436" fmla="*/ 142218 w 398109"/>
                <a:gd name="connsiteY436" fmla="*/ 89358 h 426490"/>
                <a:gd name="connsiteX437" fmla="*/ 146389 w 398109"/>
                <a:gd name="connsiteY437" fmla="*/ 72149 h 426490"/>
                <a:gd name="connsiteX438" fmla="*/ 146836 w 398109"/>
                <a:gd name="connsiteY438" fmla="*/ 70650 h 426490"/>
                <a:gd name="connsiteX439" fmla="*/ 147994 w 398109"/>
                <a:gd name="connsiteY439" fmla="*/ 67019 h 426490"/>
                <a:gd name="connsiteX440" fmla="*/ 148494 w 398109"/>
                <a:gd name="connsiteY440" fmla="*/ 65558 h 426490"/>
                <a:gd name="connsiteX441" fmla="*/ 154230 w 398109"/>
                <a:gd name="connsiteY441" fmla="*/ 51402 h 426490"/>
                <a:gd name="connsiteX442" fmla="*/ 135850 w 398109"/>
                <a:gd name="connsiteY442" fmla="*/ 49747 h 426490"/>
                <a:gd name="connsiteX443" fmla="*/ 135850 w 398109"/>
                <a:gd name="connsiteY443" fmla="*/ 43008 h 426490"/>
                <a:gd name="connsiteX444" fmla="*/ 135811 w 398109"/>
                <a:gd name="connsiteY444" fmla="*/ 43016 h 426490"/>
                <a:gd name="connsiteX445" fmla="*/ 135811 w 398109"/>
                <a:gd name="connsiteY445" fmla="*/ 42995 h 426490"/>
                <a:gd name="connsiteX446" fmla="*/ 157466 w 398109"/>
                <a:gd name="connsiteY446" fmla="*/ 45100 h 426490"/>
                <a:gd name="connsiteX447" fmla="*/ 170373 w 398109"/>
                <a:gd name="connsiteY447" fmla="*/ 27023 h 426490"/>
                <a:gd name="connsiteX448" fmla="*/ 167386 w 398109"/>
                <a:gd name="connsiteY448" fmla="*/ 17314 h 426490"/>
                <a:gd name="connsiteX449" fmla="*/ 184700 w 398109"/>
                <a:gd name="connsiteY449" fmla="*/ 0 h 426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</a:cxnLst>
              <a:rect l="l" t="t" r="r" b="b"/>
              <a:pathLst>
                <a:path w="398109" h="426490">
                  <a:moveTo>
                    <a:pt x="204803" y="192820"/>
                  </a:moveTo>
                  <a:cubicBezTo>
                    <a:pt x="197856" y="196004"/>
                    <a:pt x="190962" y="198780"/>
                    <a:pt x="184213" y="201121"/>
                  </a:cubicBezTo>
                  <a:cubicBezTo>
                    <a:pt x="182832" y="201608"/>
                    <a:pt x="181450" y="202055"/>
                    <a:pt x="180082" y="202503"/>
                  </a:cubicBezTo>
                  <a:cubicBezTo>
                    <a:pt x="179450" y="202713"/>
                    <a:pt x="178832" y="202911"/>
                    <a:pt x="178201" y="203108"/>
                  </a:cubicBezTo>
                  <a:cubicBezTo>
                    <a:pt x="177595" y="203292"/>
                    <a:pt x="177003" y="203476"/>
                    <a:pt x="176398" y="203661"/>
                  </a:cubicBezTo>
                  <a:cubicBezTo>
                    <a:pt x="172386" y="204884"/>
                    <a:pt x="168439" y="205963"/>
                    <a:pt x="164571" y="206858"/>
                  </a:cubicBezTo>
                  <a:cubicBezTo>
                    <a:pt x="166636" y="210423"/>
                    <a:pt x="168820" y="213659"/>
                    <a:pt x="171083" y="216593"/>
                  </a:cubicBezTo>
                  <a:cubicBezTo>
                    <a:pt x="171662" y="217330"/>
                    <a:pt x="172241" y="218040"/>
                    <a:pt x="172820" y="218738"/>
                  </a:cubicBezTo>
                  <a:cubicBezTo>
                    <a:pt x="173122" y="219106"/>
                    <a:pt x="173425" y="219461"/>
                    <a:pt x="173741" y="219817"/>
                  </a:cubicBezTo>
                  <a:cubicBezTo>
                    <a:pt x="174083" y="220198"/>
                    <a:pt x="174412" y="220580"/>
                    <a:pt x="174754" y="220948"/>
                  </a:cubicBezTo>
                  <a:cubicBezTo>
                    <a:pt x="175096" y="221316"/>
                    <a:pt x="175438" y="221698"/>
                    <a:pt x="175793" y="222066"/>
                  </a:cubicBezTo>
                  <a:cubicBezTo>
                    <a:pt x="176030" y="222316"/>
                    <a:pt x="176280" y="222553"/>
                    <a:pt x="176517" y="222803"/>
                  </a:cubicBezTo>
                  <a:cubicBezTo>
                    <a:pt x="177267" y="223566"/>
                    <a:pt x="178030" y="224303"/>
                    <a:pt x="178806" y="225000"/>
                  </a:cubicBezTo>
                  <a:cubicBezTo>
                    <a:pt x="178977" y="225158"/>
                    <a:pt x="179148" y="225316"/>
                    <a:pt x="179319" y="225461"/>
                  </a:cubicBezTo>
                  <a:cubicBezTo>
                    <a:pt x="180924" y="226868"/>
                    <a:pt x="182555" y="228144"/>
                    <a:pt x="184226" y="229276"/>
                  </a:cubicBezTo>
                  <a:cubicBezTo>
                    <a:pt x="190278" y="233381"/>
                    <a:pt x="196672" y="235538"/>
                    <a:pt x="203185" y="235538"/>
                  </a:cubicBezTo>
                  <a:cubicBezTo>
                    <a:pt x="206803" y="235538"/>
                    <a:pt x="210381" y="234881"/>
                    <a:pt x="213894" y="233591"/>
                  </a:cubicBezTo>
                  <a:cubicBezTo>
                    <a:pt x="214631" y="233315"/>
                    <a:pt x="215367" y="233012"/>
                    <a:pt x="216091" y="232683"/>
                  </a:cubicBezTo>
                  <a:cubicBezTo>
                    <a:pt x="216341" y="232578"/>
                    <a:pt x="216578" y="232473"/>
                    <a:pt x="216815" y="232355"/>
                  </a:cubicBezTo>
                  <a:cubicBezTo>
                    <a:pt x="217446" y="232052"/>
                    <a:pt x="218064" y="231749"/>
                    <a:pt x="218683" y="231407"/>
                  </a:cubicBezTo>
                  <a:cubicBezTo>
                    <a:pt x="218999" y="231236"/>
                    <a:pt x="219314" y="231052"/>
                    <a:pt x="219630" y="230868"/>
                  </a:cubicBezTo>
                  <a:cubicBezTo>
                    <a:pt x="220090" y="230605"/>
                    <a:pt x="220538" y="230328"/>
                    <a:pt x="220998" y="230039"/>
                  </a:cubicBezTo>
                  <a:cubicBezTo>
                    <a:pt x="221367" y="229815"/>
                    <a:pt x="221722" y="229579"/>
                    <a:pt x="222077" y="229342"/>
                  </a:cubicBezTo>
                  <a:cubicBezTo>
                    <a:pt x="222419" y="229105"/>
                    <a:pt x="222761" y="228855"/>
                    <a:pt x="223103" y="228618"/>
                  </a:cubicBezTo>
                  <a:cubicBezTo>
                    <a:pt x="223761" y="228144"/>
                    <a:pt x="224419" y="227645"/>
                    <a:pt x="225064" y="227131"/>
                  </a:cubicBezTo>
                  <a:cubicBezTo>
                    <a:pt x="225287" y="226960"/>
                    <a:pt x="225511" y="226776"/>
                    <a:pt x="225735" y="226592"/>
                  </a:cubicBezTo>
                  <a:cubicBezTo>
                    <a:pt x="226182" y="226224"/>
                    <a:pt x="226629" y="225855"/>
                    <a:pt x="227063" y="225461"/>
                  </a:cubicBezTo>
                  <a:lnTo>
                    <a:pt x="227050" y="225447"/>
                  </a:lnTo>
                  <a:cubicBezTo>
                    <a:pt x="232550" y="220606"/>
                    <a:pt x="237694" y="214094"/>
                    <a:pt x="242285" y="206029"/>
                  </a:cubicBezTo>
                  <a:cubicBezTo>
                    <a:pt x="235326" y="204331"/>
                    <a:pt x="228090" y="202082"/>
                    <a:pt x="220669" y="199345"/>
                  </a:cubicBezTo>
                  <a:cubicBezTo>
                    <a:pt x="220604" y="199319"/>
                    <a:pt x="220525" y="199293"/>
                    <a:pt x="220446" y="199266"/>
                  </a:cubicBezTo>
                  <a:cubicBezTo>
                    <a:pt x="218288" y="198464"/>
                    <a:pt x="216104" y="197622"/>
                    <a:pt x="213907" y="196727"/>
                  </a:cubicBezTo>
                  <a:cubicBezTo>
                    <a:pt x="210894" y="195504"/>
                    <a:pt x="207855" y="194214"/>
                    <a:pt x="204803" y="192820"/>
                  </a:cubicBezTo>
                  <a:close/>
                  <a:moveTo>
                    <a:pt x="68424" y="173769"/>
                  </a:moveTo>
                  <a:lnTo>
                    <a:pt x="84330" y="173769"/>
                  </a:lnTo>
                  <a:cubicBezTo>
                    <a:pt x="84804" y="174111"/>
                    <a:pt x="85304" y="174440"/>
                    <a:pt x="85817" y="174756"/>
                  </a:cubicBezTo>
                  <a:cubicBezTo>
                    <a:pt x="85527" y="179058"/>
                    <a:pt x="85804" y="183123"/>
                    <a:pt x="86659" y="186925"/>
                  </a:cubicBezTo>
                  <a:lnTo>
                    <a:pt x="75002" y="186925"/>
                  </a:lnTo>
                  <a:lnTo>
                    <a:pt x="75002" y="391980"/>
                  </a:lnTo>
                  <a:lnTo>
                    <a:pt x="104670" y="391980"/>
                  </a:lnTo>
                  <a:lnTo>
                    <a:pt x="104670" y="210291"/>
                  </a:lnTo>
                  <a:cubicBezTo>
                    <a:pt x="108551" y="212409"/>
                    <a:pt x="112945" y="214054"/>
                    <a:pt x="117826" y="215185"/>
                  </a:cubicBezTo>
                  <a:lnTo>
                    <a:pt x="117826" y="368457"/>
                  </a:lnTo>
                  <a:lnTo>
                    <a:pt x="171070" y="368457"/>
                  </a:lnTo>
                  <a:lnTo>
                    <a:pt x="171070" y="235972"/>
                  </a:lnTo>
                  <a:cubicBezTo>
                    <a:pt x="175254" y="239590"/>
                    <a:pt x="179661" y="242458"/>
                    <a:pt x="184227" y="244577"/>
                  </a:cubicBezTo>
                  <a:lnTo>
                    <a:pt x="184227" y="391967"/>
                  </a:lnTo>
                  <a:lnTo>
                    <a:pt x="213894" y="391967"/>
                  </a:lnTo>
                  <a:lnTo>
                    <a:pt x="213894" y="247537"/>
                  </a:lnTo>
                  <a:cubicBezTo>
                    <a:pt x="218420" y="246392"/>
                    <a:pt x="222814" y="244537"/>
                    <a:pt x="227050" y="241998"/>
                  </a:cubicBezTo>
                  <a:lnTo>
                    <a:pt x="227050" y="368444"/>
                  </a:lnTo>
                  <a:lnTo>
                    <a:pt x="280294" y="368444"/>
                  </a:lnTo>
                  <a:lnTo>
                    <a:pt x="280294" y="227907"/>
                  </a:lnTo>
                  <a:cubicBezTo>
                    <a:pt x="281110" y="228000"/>
                    <a:pt x="281939" y="228052"/>
                    <a:pt x="282768" y="228052"/>
                  </a:cubicBezTo>
                  <a:cubicBezTo>
                    <a:pt x="286609" y="228052"/>
                    <a:pt x="290227" y="227131"/>
                    <a:pt x="293451" y="225513"/>
                  </a:cubicBezTo>
                  <a:lnTo>
                    <a:pt x="293451" y="391954"/>
                  </a:lnTo>
                  <a:lnTo>
                    <a:pt x="323118" y="391954"/>
                  </a:lnTo>
                  <a:lnTo>
                    <a:pt x="323118" y="186925"/>
                  </a:lnTo>
                  <a:lnTo>
                    <a:pt x="322750" y="186925"/>
                  </a:lnTo>
                  <a:cubicBezTo>
                    <a:pt x="323723" y="182794"/>
                    <a:pt x="324013" y="178387"/>
                    <a:pt x="323645" y="173769"/>
                  </a:cubicBezTo>
                  <a:lnTo>
                    <a:pt x="329696" y="173769"/>
                  </a:lnTo>
                  <a:cubicBezTo>
                    <a:pt x="333328" y="173769"/>
                    <a:pt x="336275" y="176716"/>
                    <a:pt x="336275" y="180347"/>
                  </a:cubicBezTo>
                  <a:lnTo>
                    <a:pt x="336275" y="370154"/>
                  </a:lnTo>
                  <a:lnTo>
                    <a:pt x="336275" y="370167"/>
                  </a:lnTo>
                  <a:cubicBezTo>
                    <a:pt x="358890" y="376456"/>
                    <a:pt x="375652" y="399282"/>
                    <a:pt x="375652" y="426490"/>
                  </a:cubicBezTo>
                  <a:lnTo>
                    <a:pt x="22469" y="426490"/>
                  </a:lnTo>
                  <a:cubicBezTo>
                    <a:pt x="22469" y="410452"/>
                    <a:pt x="28284" y="395954"/>
                    <a:pt x="37691" y="385442"/>
                  </a:cubicBezTo>
                  <a:cubicBezTo>
                    <a:pt x="44243" y="378114"/>
                    <a:pt x="52558" y="372746"/>
                    <a:pt x="61846" y="370167"/>
                  </a:cubicBezTo>
                  <a:lnTo>
                    <a:pt x="61846" y="180347"/>
                  </a:lnTo>
                  <a:cubicBezTo>
                    <a:pt x="61846" y="176716"/>
                    <a:pt x="64793" y="173769"/>
                    <a:pt x="68424" y="173769"/>
                  </a:cubicBezTo>
                  <a:close/>
                  <a:moveTo>
                    <a:pt x="257902" y="160587"/>
                  </a:moveTo>
                  <a:cubicBezTo>
                    <a:pt x="254205" y="163455"/>
                    <a:pt x="250363" y="166283"/>
                    <a:pt x="246377" y="169046"/>
                  </a:cubicBezTo>
                  <a:cubicBezTo>
                    <a:pt x="240009" y="173467"/>
                    <a:pt x="233549" y="177545"/>
                    <a:pt x="227050" y="181295"/>
                  </a:cubicBezTo>
                  <a:cubicBezTo>
                    <a:pt x="222682" y="183834"/>
                    <a:pt x="218288" y="186202"/>
                    <a:pt x="213907" y="188425"/>
                  </a:cubicBezTo>
                  <a:cubicBezTo>
                    <a:pt x="213552" y="188596"/>
                    <a:pt x="213197" y="188781"/>
                    <a:pt x="212841" y="188965"/>
                  </a:cubicBezTo>
                  <a:cubicBezTo>
                    <a:pt x="213197" y="189123"/>
                    <a:pt x="213552" y="189267"/>
                    <a:pt x="213907" y="189412"/>
                  </a:cubicBezTo>
                  <a:cubicBezTo>
                    <a:pt x="218328" y="191267"/>
                    <a:pt x="222722" y="192951"/>
                    <a:pt x="227063" y="194451"/>
                  </a:cubicBezTo>
                  <a:cubicBezTo>
                    <a:pt x="233378" y="196648"/>
                    <a:pt x="239562" y="198464"/>
                    <a:pt x="245561" y="199871"/>
                  </a:cubicBezTo>
                  <a:lnTo>
                    <a:pt x="245535" y="199858"/>
                  </a:lnTo>
                  <a:cubicBezTo>
                    <a:pt x="251179" y="188347"/>
                    <a:pt x="255350" y="175006"/>
                    <a:pt x="257902" y="160587"/>
                  </a:cubicBezTo>
                  <a:close/>
                  <a:moveTo>
                    <a:pt x="148033" y="158100"/>
                  </a:moveTo>
                  <a:cubicBezTo>
                    <a:pt x="148046" y="158179"/>
                    <a:pt x="148073" y="158245"/>
                    <a:pt x="148073" y="158311"/>
                  </a:cubicBezTo>
                  <a:lnTo>
                    <a:pt x="148046" y="158311"/>
                  </a:lnTo>
                  <a:cubicBezTo>
                    <a:pt x="150612" y="173940"/>
                    <a:pt x="155059" y="188373"/>
                    <a:pt x="161203" y="200687"/>
                  </a:cubicBezTo>
                  <a:cubicBezTo>
                    <a:pt x="164426" y="199977"/>
                    <a:pt x="167715" y="199135"/>
                    <a:pt x="171044" y="198187"/>
                  </a:cubicBezTo>
                  <a:cubicBezTo>
                    <a:pt x="175372" y="196964"/>
                    <a:pt x="179753" y="195543"/>
                    <a:pt x="184200" y="193938"/>
                  </a:cubicBezTo>
                  <a:cubicBezTo>
                    <a:pt x="188331" y="192438"/>
                    <a:pt x="192502" y="190807"/>
                    <a:pt x="196698" y="189004"/>
                  </a:cubicBezTo>
                  <a:cubicBezTo>
                    <a:pt x="195343" y="188333"/>
                    <a:pt x="193975" y="187623"/>
                    <a:pt x="192620" y="186912"/>
                  </a:cubicBezTo>
                  <a:cubicBezTo>
                    <a:pt x="191528" y="186360"/>
                    <a:pt x="190449" y="185781"/>
                    <a:pt x="189357" y="185202"/>
                  </a:cubicBezTo>
                  <a:cubicBezTo>
                    <a:pt x="187844" y="184386"/>
                    <a:pt x="186318" y="183571"/>
                    <a:pt x="184792" y="182716"/>
                  </a:cubicBezTo>
                  <a:cubicBezTo>
                    <a:pt x="182819" y="181610"/>
                    <a:pt x="180885" y="180492"/>
                    <a:pt x="178951" y="179348"/>
                  </a:cubicBezTo>
                  <a:cubicBezTo>
                    <a:pt x="178806" y="179255"/>
                    <a:pt x="178648" y="179163"/>
                    <a:pt x="178503" y="179071"/>
                  </a:cubicBezTo>
                  <a:cubicBezTo>
                    <a:pt x="167557" y="172572"/>
                    <a:pt x="157335" y="165507"/>
                    <a:pt x="148033" y="158100"/>
                  </a:cubicBezTo>
                  <a:close/>
                  <a:moveTo>
                    <a:pt x="120181" y="131945"/>
                  </a:moveTo>
                  <a:cubicBezTo>
                    <a:pt x="119536" y="132748"/>
                    <a:pt x="118905" y="133537"/>
                    <a:pt x="118287" y="134340"/>
                  </a:cubicBezTo>
                  <a:lnTo>
                    <a:pt x="118260" y="134340"/>
                  </a:lnTo>
                  <a:cubicBezTo>
                    <a:pt x="115866" y="137445"/>
                    <a:pt x="113682" y="140510"/>
                    <a:pt x="111722" y="143523"/>
                  </a:cubicBezTo>
                  <a:cubicBezTo>
                    <a:pt x="114090" y="146483"/>
                    <a:pt x="115497" y="150233"/>
                    <a:pt x="115497" y="154311"/>
                  </a:cubicBezTo>
                  <a:cubicBezTo>
                    <a:pt x="115497" y="154982"/>
                    <a:pt x="115458" y="155640"/>
                    <a:pt x="115379" y="156298"/>
                  </a:cubicBezTo>
                  <a:cubicBezTo>
                    <a:pt x="115366" y="156350"/>
                    <a:pt x="115353" y="156403"/>
                    <a:pt x="115353" y="156455"/>
                  </a:cubicBezTo>
                  <a:cubicBezTo>
                    <a:pt x="115287" y="157087"/>
                    <a:pt x="115169" y="157705"/>
                    <a:pt x="115024" y="158311"/>
                  </a:cubicBezTo>
                  <a:cubicBezTo>
                    <a:pt x="113313" y="165494"/>
                    <a:pt x="107156" y="170954"/>
                    <a:pt x="99605" y="171559"/>
                  </a:cubicBezTo>
                  <a:cubicBezTo>
                    <a:pt x="99420" y="172638"/>
                    <a:pt x="99262" y="173690"/>
                    <a:pt x="99170" y="174730"/>
                  </a:cubicBezTo>
                  <a:cubicBezTo>
                    <a:pt x="99091" y="175624"/>
                    <a:pt x="99052" y="176493"/>
                    <a:pt x="99039" y="177348"/>
                  </a:cubicBezTo>
                  <a:cubicBezTo>
                    <a:pt x="99039" y="177532"/>
                    <a:pt x="99039" y="177716"/>
                    <a:pt x="99039" y="177900"/>
                  </a:cubicBezTo>
                  <a:cubicBezTo>
                    <a:pt x="99039" y="178624"/>
                    <a:pt x="99065" y="179321"/>
                    <a:pt x="99118" y="180019"/>
                  </a:cubicBezTo>
                  <a:cubicBezTo>
                    <a:pt x="99144" y="180361"/>
                    <a:pt x="99170" y="180690"/>
                    <a:pt x="99210" y="181018"/>
                  </a:cubicBezTo>
                  <a:cubicBezTo>
                    <a:pt x="99249" y="181453"/>
                    <a:pt x="99315" y="181887"/>
                    <a:pt x="99381" y="182308"/>
                  </a:cubicBezTo>
                  <a:cubicBezTo>
                    <a:pt x="99473" y="182900"/>
                    <a:pt x="99578" y="183492"/>
                    <a:pt x="99710" y="184058"/>
                  </a:cubicBezTo>
                  <a:cubicBezTo>
                    <a:pt x="99736" y="184136"/>
                    <a:pt x="99749" y="184229"/>
                    <a:pt x="99776" y="184321"/>
                  </a:cubicBezTo>
                  <a:cubicBezTo>
                    <a:pt x="99986" y="185215"/>
                    <a:pt x="100249" y="186084"/>
                    <a:pt x="100565" y="186912"/>
                  </a:cubicBezTo>
                  <a:cubicBezTo>
                    <a:pt x="101591" y="189649"/>
                    <a:pt x="103104" y="192096"/>
                    <a:pt x="105157" y="194188"/>
                  </a:cubicBezTo>
                  <a:cubicBezTo>
                    <a:pt x="105551" y="194583"/>
                    <a:pt x="105959" y="194964"/>
                    <a:pt x="106380" y="195333"/>
                  </a:cubicBezTo>
                  <a:cubicBezTo>
                    <a:pt x="106459" y="195398"/>
                    <a:pt x="106538" y="195464"/>
                    <a:pt x="106617" y="195530"/>
                  </a:cubicBezTo>
                  <a:cubicBezTo>
                    <a:pt x="106972" y="195832"/>
                    <a:pt x="107327" y="196122"/>
                    <a:pt x="107709" y="196411"/>
                  </a:cubicBezTo>
                  <a:cubicBezTo>
                    <a:pt x="107775" y="196464"/>
                    <a:pt x="107854" y="196503"/>
                    <a:pt x="107919" y="196556"/>
                  </a:cubicBezTo>
                  <a:cubicBezTo>
                    <a:pt x="108327" y="196859"/>
                    <a:pt x="108735" y="197148"/>
                    <a:pt x="109156" y="197424"/>
                  </a:cubicBezTo>
                  <a:cubicBezTo>
                    <a:pt x="109196" y="197451"/>
                    <a:pt x="109248" y="197477"/>
                    <a:pt x="109288" y="197503"/>
                  </a:cubicBezTo>
                  <a:cubicBezTo>
                    <a:pt x="109735" y="197793"/>
                    <a:pt x="110209" y="198082"/>
                    <a:pt x="110695" y="198359"/>
                  </a:cubicBezTo>
                  <a:cubicBezTo>
                    <a:pt x="110708" y="198372"/>
                    <a:pt x="110722" y="198385"/>
                    <a:pt x="110735" y="198385"/>
                  </a:cubicBezTo>
                  <a:cubicBezTo>
                    <a:pt x="112853" y="199582"/>
                    <a:pt x="115221" y="200569"/>
                    <a:pt x="117839" y="201371"/>
                  </a:cubicBezTo>
                  <a:cubicBezTo>
                    <a:pt x="122918" y="202924"/>
                    <a:pt x="128930" y="203726"/>
                    <a:pt x="135745" y="203726"/>
                  </a:cubicBezTo>
                  <a:cubicBezTo>
                    <a:pt x="141586" y="203726"/>
                    <a:pt x="147849" y="203134"/>
                    <a:pt x="154388" y="202016"/>
                  </a:cubicBezTo>
                  <a:cubicBezTo>
                    <a:pt x="148388" y="189491"/>
                    <a:pt x="143863" y="174638"/>
                    <a:pt x="141271" y="158297"/>
                  </a:cubicBezTo>
                  <a:cubicBezTo>
                    <a:pt x="140929" y="156113"/>
                    <a:pt x="140613" y="153916"/>
                    <a:pt x="140337" y="151693"/>
                  </a:cubicBezTo>
                  <a:cubicBezTo>
                    <a:pt x="132877" y="145246"/>
                    <a:pt x="126115" y="138615"/>
                    <a:pt x="120181" y="131945"/>
                  </a:cubicBezTo>
                  <a:close/>
                  <a:moveTo>
                    <a:pt x="289161" y="131629"/>
                  </a:moveTo>
                  <a:cubicBezTo>
                    <a:pt x="282425" y="139260"/>
                    <a:pt x="274571" y="146891"/>
                    <a:pt x="265717" y="154311"/>
                  </a:cubicBezTo>
                  <a:cubicBezTo>
                    <a:pt x="265533" y="155653"/>
                    <a:pt x="265309" y="156969"/>
                    <a:pt x="265098" y="158297"/>
                  </a:cubicBezTo>
                  <a:cubicBezTo>
                    <a:pt x="262559" y="174309"/>
                    <a:pt x="258165" y="188939"/>
                    <a:pt x="252337" y="201306"/>
                  </a:cubicBezTo>
                  <a:cubicBezTo>
                    <a:pt x="256889" y="202161"/>
                    <a:pt x="261309" y="202766"/>
                    <a:pt x="265546" y="203108"/>
                  </a:cubicBezTo>
                  <a:cubicBezTo>
                    <a:pt x="266098" y="194070"/>
                    <a:pt x="273597" y="186926"/>
                    <a:pt x="282767" y="186926"/>
                  </a:cubicBezTo>
                  <a:cubicBezTo>
                    <a:pt x="290135" y="186926"/>
                    <a:pt x="296411" y="191530"/>
                    <a:pt x="298897" y="198016"/>
                  </a:cubicBezTo>
                  <a:cubicBezTo>
                    <a:pt x="303910" y="195162"/>
                    <a:pt x="307330" y="191228"/>
                    <a:pt x="309080" y="186281"/>
                  </a:cubicBezTo>
                  <a:cubicBezTo>
                    <a:pt x="309317" y="185597"/>
                    <a:pt x="309514" y="184873"/>
                    <a:pt x="309699" y="184150"/>
                  </a:cubicBezTo>
                  <a:cubicBezTo>
                    <a:pt x="309738" y="183979"/>
                    <a:pt x="309777" y="183821"/>
                    <a:pt x="309817" y="183650"/>
                  </a:cubicBezTo>
                  <a:cubicBezTo>
                    <a:pt x="309962" y="183005"/>
                    <a:pt x="310080" y="182334"/>
                    <a:pt x="310172" y="181650"/>
                  </a:cubicBezTo>
                  <a:cubicBezTo>
                    <a:pt x="310212" y="181360"/>
                    <a:pt x="310251" y="181058"/>
                    <a:pt x="310277" y="180755"/>
                  </a:cubicBezTo>
                  <a:cubicBezTo>
                    <a:pt x="310330" y="180308"/>
                    <a:pt x="310356" y="179861"/>
                    <a:pt x="310383" y="179400"/>
                  </a:cubicBezTo>
                  <a:cubicBezTo>
                    <a:pt x="310422" y="178795"/>
                    <a:pt x="310435" y="178177"/>
                    <a:pt x="310435" y="177545"/>
                  </a:cubicBezTo>
                  <a:cubicBezTo>
                    <a:pt x="310435" y="177308"/>
                    <a:pt x="310435" y="177072"/>
                    <a:pt x="310435" y="176835"/>
                  </a:cubicBezTo>
                  <a:cubicBezTo>
                    <a:pt x="310409" y="175835"/>
                    <a:pt x="310343" y="174809"/>
                    <a:pt x="310225" y="173756"/>
                  </a:cubicBezTo>
                  <a:cubicBezTo>
                    <a:pt x="309699" y="168993"/>
                    <a:pt x="308238" y="163797"/>
                    <a:pt x="305883" y="158297"/>
                  </a:cubicBezTo>
                  <a:cubicBezTo>
                    <a:pt x="304383" y="154811"/>
                    <a:pt x="302528" y="151193"/>
                    <a:pt x="300331" y="147496"/>
                  </a:cubicBezTo>
                  <a:cubicBezTo>
                    <a:pt x="300173" y="147220"/>
                    <a:pt x="300015" y="146943"/>
                    <a:pt x="299844" y="146667"/>
                  </a:cubicBezTo>
                  <a:cubicBezTo>
                    <a:pt x="299463" y="146036"/>
                    <a:pt x="299055" y="145391"/>
                    <a:pt x="298647" y="144746"/>
                  </a:cubicBezTo>
                  <a:cubicBezTo>
                    <a:pt x="298318" y="144233"/>
                    <a:pt x="297989" y="143707"/>
                    <a:pt x="297647" y="143194"/>
                  </a:cubicBezTo>
                  <a:cubicBezTo>
                    <a:pt x="297292" y="142654"/>
                    <a:pt x="296937" y="142102"/>
                    <a:pt x="296568" y="141562"/>
                  </a:cubicBezTo>
                  <a:cubicBezTo>
                    <a:pt x="296108" y="140878"/>
                    <a:pt x="295634" y="140194"/>
                    <a:pt x="295148" y="139510"/>
                  </a:cubicBezTo>
                  <a:cubicBezTo>
                    <a:pt x="294845" y="139089"/>
                    <a:pt x="294542" y="138655"/>
                    <a:pt x="294240" y="138234"/>
                  </a:cubicBezTo>
                  <a:cubicBezTo>
                    <a:pt x="293424" y="137089"/>
                    <a:pt x="292582" y="135958"/>
                    <a:pt x="291701" y="134813"/>
                  </a:cubicBezTo>
                  <a:cubicBezTo>
                    <a:pt x="290885" y="133748"/>
                    <a:pt x="290030" y="132682"/>
                    <a:pt x="289175" y="131629"/>
                  </a:cubicBezTo>
                  <a:close/>
                  <a:moveTo>
                    <a:pt x="307909" y="118131"/>
                  </a:moveTo>
                  <a:lnTo>
                    <a:pt x="375099" y="154127"/>
                  </a:lnTo>
                  <a:lnTo>
                    <a:pt x="375112" y="154127"/>
                  </a:lnTo>
                  <a:cubicBezTo>
                    <a:pt x="377006" y="155140"/>
                    <a:pt x="376349" y="158311"/>
                    <a:pt x="374257" y="158311"/>
                  </a:cubicBezTo>
                  <a:lnTo>
                    <a:pt x="320237" y="158311"/>
                  </a:lnTo>
                  <a:cubicBezTo>
                    <a:pt x="316698" y="148233"/>
                    <a:pt x="310593" y="137484"/>
                    <a:pt x="302002" y="126393"/>
                  </a:cubicBezTo>
                  <a:cubicBezTo>
                    <a:pt x="304120" y="123630"/>
                    <a:pt x="306080" y="120881"/>
                    <a:pt x="307909" y="118131"/>
                  </a:cubicBezTo>
                  <a:close/>
                  <a:moveTo>
                    <a:pt x="97789" y="113000"/>
                  </a:moveTo>
                  <a:cubicBezTo>
                    <a:pt x="100512" y="117513"/>
                    <a:pt x="103683" y="122104"/>
                    <a:pt x="107288" y="126762"/>
                  </a:cubicBezTo>
                  <a:cubicBezTo>
                    <a:pt x="106170" y="128222"/>
                    <a:pt x="105091" y="129682"/>
                    <a:pt x="104051" y="131143"/>
                  </a:cubicBezTo>
                  <a:cubicBezTo>
                    <a:pt x="102144" y="130669"/>
                    <a:pt x="100170" y="130419"/>
                    <a:pt x="98197" y="130419"/>
                  </a:cubicBezTo>
                  <a:cubicBezTo>
                    <a:pt x="85027" y="130419"/>
                    <a:pt x="74305" y="141141"/>
                    <a:pt x="74305" y="154311"/>
                  </a:cubicBezTo>
                  <a:lnTo>
                    <a:pt x="74318" y="154298"/>
                  </a:lnTo>
                  <a:cubicBezTo>
                    <a:pt x="74318" y="155666"/>
                    <a:pt x="74436" y="156995"/>
                    <a:pt x="74660" y="158297"/>
                  </a:cubicBezTo>
                  <a:lnTo>
                    <a:pt x="21495" y="158297"/>
                  </a:lnTo>
                  <a:cubicBezTo>
                    <a:pt x="19390" y="158297"/>
                    <a:pt x="18746" y="155127"/>
                    <a:pt x="20640" y="154114"/>
                  </a:cubicBezTo>
                  <a:close/>
                  <a:moveTo>
                    <a:pt x="139337" y="111566"/>
                  </a:moveTo>
                  <a:cubicBezTo>
                    <a:pt x="133982" y="116526"/>
                    <a:pt x="129035" y="121604"/>
                    <a:pt x="124562" y="126722"/>
                  </a:cubicBezTo>
                  <a:cubicBezTo>
                    <a:pt x="129075" y="131853"/>
                    <a:pt x="134022" y="136892"/>
                    <a:pt x="139363" y="141812"/>
                  </a:cubicBezTo>
                  <a:cubicBezTo>
                    <a:pt x="139008" y="136826"/>
                    <a:pt x="138810" y="131643"/>
                    <a:pt x="138810" y="126564"/>
                  </a:cubicBezTo>
                  <a:cubicBezTo>
                    <a:pt x="138810" y="121486"/>
                    <a:pt x="138995" y="116473"/>
                    <a:pt x="139350" y="111566"/>
                  </a:cubicBezTo>
                  <a:close/>
                  <a:moveTo>
                    <a:pt x="266809" y="108461"/>
                  </a:moveTo>
                  <a:cubicBezTo>
                    <a:pt x="267322" y="114368"/>
                    <a:pt x="267598" y="120486"/>
                    <a:pt x="267598" y="126564"/>
                  </a:cubicBezTo>
                  <a:cubicBezTo>
                    <a:pt x="267598" y="132642"/>
                    <a:pt x="267335" y="138602"/>
                    <a:pt x="266835" y="144431"/>
                  </a:cubicBezTo>
                  <a:cubicBezTo>
                    <a:pt x="273413" y="138563"/>
                    <a:pt x="279426" y="132524"/>
                    <a:pt x="284767" y="126406"/>
                  </a:cubicBezTo>
                  <a:cubicBezTo>
                    <a:pt x="279386" y="120275"/>
                    <a:pt x="273361" y="114276"/>
                    <a:pt x="266809" y="108461"/>
                  </a:cubicBezTo>
                  <a:close/>
                  <a:moveTo>
                    <a:pt x="319040" y="97133"/>
                  </a:moveTo>
                  <a:lnTo>
                    <a:pt x="394623" y="137457"/>
                  </a:lnTo>
                  <a:cubicBezTo>
                    <a:pt x="397833" y="139168"/>
                    <a:pt x="399044" y="143141"/>
                    <a:pt x="397333" y="146351"/>
                  </a:cubicBezTo>
                  <a:cubicBezTo>
                    <a:pt x="396149" y="148574"/>
                    <a:pt x="393873" y="149837"/>
                    <a:pt x="391518" y="149837"/>
                  </a:cubicBezTo>
                  <a:cubicBezTo>
                    <a:pt x="390479" y="149837"/>
                    <a:pt x="389413" y="149587"/>
                    <a:pt x="388426" y="149061"/>
                  </a:cubicBezTo>
                  <a:lnTo>
                    <a:pt x="313422" y="109053"/>
                  </a:lnTo>
                  <a:cubicBezTo>
                    <a:pt x="315659" y="105014"/>
                    <a:pt x="317527" y="101027"/>
                    <a:pt x="319040" y="97133"/>
                  </a:cubicBezTo>
                  <a:close/>
                  <a:moveTo>
                    <a:pt x="88080" y="91871"/>
                  </a:moveTo>
                  <a:lnTo>
                    <a:pt x="88080" y="91884"/>
                  </a:lnTo>
                  <a:cubicBezTo>
                    <a:pt x="89290" y="95871"/>
                    <a:pt x="90935" y="99975"/>
                    <a:pt x="92974" y="104185"/>
                  </a:cubicBezTo>
                  <a:lnTo>
                    <a:pt x="9694" y="149049"/>
                  </a:lnTo>
                  <a:cubicBezTo>
                    <a:pt x="6497" y="150772"/>
                    <a:pt x="2511" y="149575"/>
                    <a:pt x="787" y="146378"/>
                  </a:cubicBezTo>
                  <a:cubicBezTo>
                    <a:pt x="-936" y="143181"/>
                    <a:pt x="261" y="139194"/>
                    <a:pt x="3458" y="137471"/>
                  </a:cubicBezTo>
                  <a:close/>
                  <a:moveTo>
                    <a:pt x="190068" y="90371"/>
                  </a:moveTo>
                  <a:lnTo>
                    <a:pt x="218657" y="90371"/>
                  </a:lnTo>
                  <a:cubicBezTo>
                    <a:pt x="219170" y="90371"/>
                    <a:pt x="219591" y="90792"/>
                    <a:pt x="219591" y="91305"/>
                  </a:cubicBezTo>
                  <a:lnTo>
                    <a:pt x="219591" y="109961"/>
                  </a:lnTo>
                  <a:cubicBezTo>
                    <a:pt x="219591" y="110474"/>
                    <a:pt x="220012" y="110895"/>
                    <a:pt x="220525" y="110895"/>
                  </a:cubicBezTo>
                  <a:lnTo>
                    <a:pt x="239181" y="110895"/>
                  </a:lnTo>
                  <a:cubicBezTo>
                    <a:pt x="239694" y="110895"/>
                    <a:pt x="240115" y="111316"/>
                    <a:pt x="240115" y="111829"/>
                  </a:cubicBezTo>
                  <a:lnTo>
                    <a:pt x="240115" y="140418"/>
                  </a:lnTo>
                  <a:cubicBezTo>
                    <a:pt x="240115" y="140931"/>
                    <a:pt x="239694" y="141352"/>
                    <a:pt x="239181" y="141352"/>
                  </a:cubicBezTo>
                  <a:lnTo>
                    <a:pt x="220525" y="141352"/>
                  </a:lnTo>
                  <a:cubicBezTo>
                    <a:pt x="220012" y="141352"/>
                    <a:pt x="219591" y="141773"/>
                    <a:pt x="219591" y="142286"/>
                  </a:cubicBezTo>
                  <a:lnTo>
                    <a:pt x="219591" y="160942"/>
                  </a:lnTo>
                  <a:cubicBezTo>
                    <a:pt x="219591" y="161455"/>
                    <a:pt x="219170" y="161876"/>
                    <a:pt x="218657" y="161876"/>
                  </a:cubicBezTo>
                  <a:lnTo>
                    <a:pt x="190068" y="161876"/>
                  </a:lnTo>
                  <a:cubicBezTo>
                    <a:pt x="189555" y="161876"/>
                    <a:pt x="189134" y="161455"/>
                    <a:pt x="189134" y="160942"/>
                  </a:cubicBezTo>
                  <a:lnTo>
                    <a:pt x="189134" y="142286"/>
                  </a:lnTo>
                  <a:cubicBezTo>
                    <a:pt x="189134" y="141773"/>
                    <a:pt x="188713" y="141352"/>
                    <a:pt x="188200" y="141352"/>
                  </a:cubicBezTo>
                  <a:lnTo>
                    <a:pt x="169544" y="141352"/>
                  </a:lnTo>
                  <a:cubicBezTo>
                    <a:pt x="169031" y="141352"/>
                    <a:pt x="168610" y="140931"/>
                    <a:pt x="168610" y="140418"/>
                  </a:cubicBezTo>
                  <a:lnTo>
                    <a:pt x="168610" y="111829"/>
                  </a:lnTo>
                  <a:cubicBezTo>
                    <a:pt x="168610" y="111316"/>
                    <a:pt x="169031" y="110895"/>
                    <a:pt x="169544" y="110895"/>
                  </a:cubicBezTo>
                  <a:lnTo>
                    <a:pt x="188200" y="110895"/>
                  </a:lnTo>
                  <a:cubicBezTo>
                    <a:pt x="188713" y="110895"/>
                    <a:pt x="189134" y="110474"/>
                    <a:pt x="189134" y="109961"/>
                  </a:cubicBezTo>
                  <a:lnTo>
                    <a:pt x="189134" y="91305"/>
                  </a:lnTo>
                  <a:cubicBezTo>
                    <a:pt x="189134" y="90792"/>
                    <a:pt x="189555" y="90371"/>
                    <a:pt x="190068" y="90371"/>
                  </a:cubicBezTo>
                  <a:close/>
                  <a:moveTo>
                    <a:pt x="204566" y="67782"/>
                  </a:moveTo>
                  <a:cubicBezTo>
                    <a:pt x="191791" y="73820"/>
                    <a:pt x="178990" y="81188"/>
                    <a:pt x="166781" y="89647"/>
                  </a:cubicBezTo>
                  <a:lnTo>
                    <a:pt x="166807" y="89674"/>
                  </a:lnTo>
                  <a:cubicBezTo>
                    <a:pt x="159716" y="94607"/>
                    <a:pt x="152993" y="99765"/>
                    <a:pt x="146731" y="105093"/>
                  </a:cubicBezTo>
                  <a:cubicBezTo>
                    <a:pt x="145968" y="112092"/>
                    <a:pt x="145586" y="119210"/>
                    <a:pt x="145586" y="126604"/>
                  </a:cubicBezTo>
                  <a:cubicBezTo>
                    <a:pt x="145586" y="133998"/>
                    <a:pt x="145981" y="141260"/>
                    <a:pt x="146744" y="148338"/>
                  </a:cubicBezTo>
                  <a:cubicBezTo>
                    <a:pt x="148678" y="149969"/>
                    <a:pt x="150664" y="151574"/>
                    <a:pt x="152677" y="153166"/>
                  </a:cubicBezTo>
                  <a:cubicBezTo>
                    <a:pt x="152914" y="153364"/>
                    <a:pt x="153164" y="153548"/>
                    <a:pt x="153414" y="153745"/>
                  </a:cubicBezTo>
                  <a:cubicBezTo>
                    <a:pt x="155387" y="155285"/>
                    <a:pt x="157387" y="156811"/>
                    <a:pt x="159427" y="158324"/>
                  </a:cubicBezTo>
                  <a:cubicBezTo>
                    <a:pt x="166807" y="163784"/>
                    <a:pt x="174622" y="168967"/>
                    <a:pt x="182792" y="173782"/>
                  </a:cubicBezTo>
                  <a:cubicBezTo>
                    <a:pt x="184555" y="174822"/>
                    <a:pt x="186331" y="175848"/>
                    <a:pt x="188121" y="176848"/>
                  </a:cubicBezTo>
                  <a:cubicBezTo>
                    <a:pt x="193659" y="179940"/>
                    <a:pt x="199225" y="182795"/>
                    <a:pt x="204776" y="185399"/>
                  </a:cubicBezTo>
                  <a:cubicBezTo>
                    <a:pt x="206408" y="184623"/>
                    <a:pt x="208039" y="183834"/>
                    <a:pt x="209671" y="183018"/>
                  </a:cubicBezTo>
                  <a:cubicBezTo>
                    <a:pt x="209829" y="182939"/>
                    <a:pt x="210000" y="182847"/>
                    <a:pt x="210157" y="182768"/>
                  </a:cubicBezTo>
                  <a:cubicBezTo>
                    <a:pt x="211644" y="182018"/>
                    <a:pt x="213118" y="181255"/>
                    <a:pt x="214604" y="180479"/>
                  </a:cubicBezTo>
                  <a:cubicBezTo>
                    <a:pt x="214617" y="180466"/>
                    <a:pt x="214644" y="180453"/>
                    <a:pt x="214644" y="180453"/>
                  </a:cubicBezTo>
                  <a:cubicBezTo>
                    <a:pt x="217893" y="178729"/>
                    <a:pt x="221143" y="176940"/>
                    <a:pt x="224379" y="175059"/>
                  </a:cubicBezTo>
                  <a:cubicBezTo>
                    <a:pt x="230537" y="171480"/>
                    <a:pt x="236615" y="167625"/>
                    <a:pt x="242562" y="163507"/>
                  </a:cubicBezTo>
                  <a:cubicBezTo>
                    <a:pt x="245022" y="161797"/>
                    <a:pt x="247416" y="160060"/>
                    <a:pt x="249784" y="158297"/>
                  </a:cubicBezTo>
                  <a:cubicBezTo>
                    <a:pt x="251363" y="157113"/>
                    <a:pt x="252929" y="155916"/>
                    <a:pt x="254481" y="154719"/>
                  </a:cubicBezTo>
                  <a:cubicBezTo>
                    <a:pt x="254560" y="154653"/>
                    <a:pt x="254639" y="154600"/>
                    <a:pt x="254718" y="154535"/>
                  </a:cubicBezTo>
                  <a:cubicBezTo>
                    <a:pt x="256297" y="153298"/>
                    <a:pt x="257862" y="152061"/>
                    <a:pt x="259389" y="150798"/>
                  </a:cubicBezTo>
                  <a:cubicBezTo>
                    <a:pt x="260336" y="142944"/>
                    <a:pt x="260836" y="134905"/>
                    <a:pt x="260836" y="126577"/>
                  </a:cubicBezTo>
                  <a:cubicBezTo>
                    <a:pt x="260836" y="118249"/>
                    <a:pt x="260336" y="110079"/>
                    <a:pt x="259362" y="102159"/>
                  </a:cubicBezTo>
                  <a:cubicBezTo>
                    <a:pt x="247850" y="92766"/>
                    <a:pt x="234970" y="84017"/>
                    <a:pt x="221222" y="76333"/>
                  </a:cubicBezTo>
                  <a:cubicBezTo>
                    <a:pt x="215683" y="73241"/>
                    <a:pt x="210118" y="70387"/>
                    <a:pt x="204566" y="67782"/>
                  </a:cubicBezTo>
                  <a:close/>
                  <a:moveTo>
                    <a:pt x="245469" y="53046"/>
                  </a:moveTo>
                  <a:cubicBezTo>
                    <a:pt x="243469" y="53533"/>
                    <a:pt x="241456" y="54059"/>
                    <a:pt x="239417" y="54625"/>
                  </a:cubicBezTo>
                  <a:cubicBezTo>
                    <a:pt x="238009" y="55020"/>
                    <a:pt x="236589" y="55428"/>
                    <a:pt x="235168" y="55862"/>
                  </a:cubicBezTo>
                  <a:cubicBezTo>
                    <a:pt x="235155" y="55862"/>
                    <a:pt x="235141" y="55862"/>
                    <a:pt x="235141" y="55862"/>
                  </a:cubicBezTo>
                  <a:cubicBezTo>
                    <a:pt x="233734" y="56296"/>
                    <a:pt x="232313" y="56743"/>
                    <a:pt x="230892" y="57204"/>
                  </a:cubicBezTo>
                  <a:cubicBezTo>
                    <a:pt x="230852" y="57217"/>
                    <a:pt x="230826" y="57230"/>
                    <a:pt x="230800" y="57230"/>
                  </a:cubicBezTo>
                  <a:cubicBezTo>
                    <a:pt x="229392" y="57691"/>
                    <a:pt x="227984" y="58177"/>
                    <a:pt x="226563" y="58677"/>
                  </a:cubicBezTo>
                  <a:cubicBezTo>
                    <a:pt x="226524" y="58691"/>
                    <a:pt x="226485" y="58704"/>
                    <a:pt x="226445" y="58717"/>
                  </a:cubicBezTo>
                  <a:cubicBezTo>
                    <a:pt x="224998" y="59230"/>
                    <a:pt x="223551" y="59756"/>
                    <a:pt x="222103" y="60309"/>
                  </a:cubicBezTo>
                  <a:cubicBezTo>
                    <a:pt x="218946" y="61506"/>
                    <a:pt x="215788" y="62769"/>
                    <a:pt x="212605" y="64137"/>
                  </a:cubicBezTo>
                  <a:cubicBezTo>
                    <a:pt x="216565" y="66098"/>
                    <a:pt x="220538" y="68189"/>
                    <a:pt x="224524" y="70426"/>
                  </a:cubicBezTo>
                  <a:cubicBezTo>
                    <a:pt x="236523" y="77136"/>
                    <a:pt x="247732" y="84556"/>
                    <a:pt x="257915" y="92397"/>
                  </a:cubicBezTo>
                  <a:cubicBezTo>
                    <a:pt x="257836" y="91976"/>
                    <a:pt x="257757" y="91581"/>
                    <a:pt x="257678" y="91174"/>
                  </a:cubicBezTo>
                  <a:cubicBezTo>
                    <a:pt x="256810" y="86543"/>
                    <a:pt x="255797" y="82017"/>
                    <a:pt x="254600" y="77636"/>
                  </a:cubicBezTo>
                  <a:cubicBezTo>
                    <a:pt x="254179" y="76096"/>
                    <a:pt x="253744" y="74583"/>
                    <a:pt x="253284" y="73084"/>
                  </a:cubicBezTo>
                  <a:cubicBezTo>
                    <a:pt x="253258" y="72992"/>
                    <a:pt x="253231" y="72913"/>
                    <a:pt x="253205" y="72820"/>
                  </a:cubicBezTo>
                  <a:cubicBezTo>
                    <a:pt x="252745" y="71307"/>
                    <a:pt x="252258" y="69821"/>
                    <a:pt x="251758" y="68360"/>
                  </a:cubicBezTo>
                  <a:cubicBezTo>
                    <a:pt x="251745" y="68308"/>
                    <a:pt x="251718" y="68255"/>
                    <a:pt x="251705" y="68203"/>
                  </a:cubicBezTo>
                  <a:cubicBezTo>
                    <a:pt x="251179" y="66703"/>
                    <a:pt x="250653" y="65216"/>
                    <a:pt x="250087" y="63756"/>
                  </a:cubicBezTo>
                  <a:cubicBezTo>
                    <a:pt x="249521" y="62282"/>
                    <a:pt x="248929" y="60822"/>
                    <a:pt x="248324" y="59388"/>
                  </a:cubicBezTo>
                  <a:lnTo>
                    <a:pt x="248337" y="59375"/>
                  </a:lnTo>
                  <a:cubicBezTo>
                    <a:pt x="247416" y="57217"/>
                    <a:pt x="246482" y="55099"/>
                    <a:pt x="245469" y="53046"/>
                  </a:cubicBezTo>
                  <a:close/>
                  <a:moveTo>
                    <a:pt x="161137" y="52678"/>
                  </a:moveTo>
                  <a:cubicBezTo>
                    <a:pt x="160400" y="54165"/>
                    <a:pt x="159690" y="55678"/>
                    <a:pt x="159005" y="57217"/>
                  </a:cubicBezTo>
                  <a:cubicBezTo>
                    <a:pt x="158427" y="58493"/>
                    <a:pt x="157887" y="59809"/>
                    <a:pt x="157348" y="61138"/>
                  </a:cubicBezTo>
                  <a:cubicBezTo>
                    <a:pt x="157256" y="61374"/>
                    <a:pt x="157150" y="61585"/>
                    <a:pt x="157058" y="61822"/>
                  </a:cubicBezTo>
                  <a:cubicBezTo>
                    <a:pt x="155822" y="64953"/>
                    <a:pt x="154664" y="68189"/>
                    <a:pt x="153611" y="71518"/>
                  </a:cubicBezTo>
                  <a:cubicBezTo>
                    <a:pt x="152204" y="75939"/>
                    <a:pt x="150980" y="80517"/>
                    <a:pt x="149941" y="85240"/>
                  </a:cubicBezTo>
                  <a:cubicBezTo>
                    <a:pt x="149586" y="86858"/>
                    <a:pt x="149243" y="88477"/>
                    <a:pt x="148928" y="90108"/>
                  </a:cubicBezTo>
                  <a:lnTo>
                    <a:pt x="148941" y="90108"/>
                  </a:lnTo>
                  <a:cubicBezTo>
                    <a:pt x="148625" y="91792"/>
                    <a:pt x="148309" y="93489"/>
                    <a:pt x="148033" y="95213"/>
                  </a:cubicBezTo>
                  <a:cubicBezTo>
                    <a:pt x="152743" y="91437"/>
                    <a:pt x="157716" y="87713"/>
                    <a:pt x="162939" y="84095"/>
                  </a:cubicBezTo>
                  <a:cubicBezTo>
                    <a:pt x="173951" y="76452"/>
                    <a:pt x="185252" y="69795"/>
                    <a:pt x="196488" y="64164"/>
                  </a:cubicBezTo>
                  <a:cubicBezTo>
                    <a:pt x="190686" y="61703"/>
                    <a:pt x="184937" y="59546"/>
                    <a:pt x="179293" y="57677"/>
                  </a:cubicBezTo>
                  <a:cubicBezTo>
                    <a:pt x="176227" y="56678"/>
                    <a:pt x="173201" y="55757"/>
                    <a:pt x="170215" y="54928"/>
                  </a:cubicBezTo>
                  <a:cubicBezTo>
                    <a:pt x="170175" y="54915"/>
                    <a:pt x="170123" y="54902"/>
                    <a:pt x="170070" y="54888"/>
                  </a:cubicBezTo>
                  <a:cubicBezTo>
                    <a:pt x="168715" y="54520"/>
                    <a:pt x="167373" y="54165"/>
                    <a:pt x="166031" y="53836"/>
                  </a:cubicBezTo>
                  <a:cubicBezTo>
                    <a:pt x="165860" y="53796"/>
                    <a:pt x="165689" y="53744"/>
                    <a:pt x="165531" y="53704"/>
                  </a:cubicBezTo>
                  <a:cubicBezTo>
                    <a:pt x="164058" y="53336"/>
                    <a:pt x="162597" y="52994"/>
                    <a:pt x="161137" y="52678"/>
                  </a:cubicBezTo>
                  <a:close/>
                  <a:moveTo>
                    <a:pt x="273532" y="49455"/>
                  </a:moveTo>
                  <a:cubicBezTo>
                    <a:pt x="266888" y="49455"/>
                    <a:pt x="259717" y="50218"/>
                    <a:pt x="252192" y="51652"/>
                  </a:cubicBezTo>
                  <a:cubicBezTo>
                    <a:pt x="258126" y="64164"/>
                    <a:pt x="262572" y="78991"/>
                    <a:pt x="265112" y="95252"/>
                  </a:cubicBezTo>
                  <a:cubicBezTo>
                    <a:pt x="265296" y="96397"/>
                    <a:pt x="265493" y="97541"/>
                    <a:pt x="265651" y="98699"/>
                  </a:cubicBezTo>
                  <a:cubicBezTo>
                    <a:pt x="274426" y="106014"/>
                    <a:pt x="282294" y="113605"/>
                    <a:pt x="289096" y="121236"/>
                  </a:cubicBezTo>
                  <a:cubicBezTo>
                    <a:pt x="289740" y="120433"/>
                    <a:pt x="290372" y="119644"/>
                    <a:pt x="290990" y="118841"/>
                  </a:cubicBezTo>
                  <a:cubicBezTo>
                    <a:pt x="291872" y="117710"/>
                    <a:pt x="292714" y="116579"/>
                    <a:pt x="293529" y="115460"/>
                  </a:cubicBezTo>
                  <a:cubicBezTo>
                    <a:pt x="293621" y="115329"/>
                    <a:pt x="293700" y="115210"/>
                    <a:pt x="293792" y="115092"/>
                  </a:cubicBezTo>
                  <a:cubicBezTo>
                    <a:pt x="294582" y="114000"/>
                    <a:pt x="295345" y="112908"/>
                    <a:pt x="296082" y="111829"/>
                  </a:cubicBezTo>
                  <a:cubicBezTo>
                    <a:pt x="298160" y="108777"/>
                    <a:pt x="300029" y="105764"/>
                    <a:pt x="301660" y="102817"/>
                  </a:cubicBezTo>
                  <a:cubicBezTo>
                    <a:pt x="302226" y="101804"/>
                    <a:pt x="302752" y="100791"/>
                    <a:pt x="303265" y="99791"/>
                  </a:cubicBezTo>
                  <a:cubicBezTo>
                    <a:pt x="303291" y="99725"/>
                    <a:pt x="303331" y="99673"/>
                    <a:pt x="303357" y="99607"/>
                  </a:cubicBezTo>
                  <a:cubicBezTo>
                    <a:pt x="303831" y="98686"/>
                    <a:pt x="304265" y="97765"/>
                    <a:pt x="304686" y="96857"/>
                  </a:cubicBezTo>
                  <a:cubicBezTo>
                    <a:pt x="304739" y="96739"/>
                    <a:pt x="304791" y="96620"/>
                    <a:pt x="304844" y="96502"/>
                  </a:cubicBezTo>
                  <a:cubicBezTo>
                    <a:pt x="305252" y="95620"/>
                    <a:pt x="305633" y="94739"/>
                    <a:pt x="305988" y="93871"/>
                  </a:cubicBezTo>
                  <a:cubicBezTo>
                    <a:pt x="306015" y="93805"/>
                    <a:pt x="306054" y="93726"/>
                    <a:pt x="306081" y="93647"/>
                  </a:cubicBezTo>
                  <a:cubicBezTo>
                    <a:pt x="306462" y="92700"/>
                    <a:pt x="306830" y="91766"/>
                    <a:pt x="307159" y="90845"/>
                  </a:cubicBezTo>
                  <a:cubicBezTo>
                    <a:pt x="308725" y="86503"/>
                    <a:pt x="309712" y="82346"/>
                    <a:pt x="310080" y="78451"/>
                  </a:cubicBezTo>
                  <a:cubicBezTo>
                    <a:pt x="310843" y="70360"/>
                    <a:pt x="308830" y="63808"/>
                    <a:pt x="304107" y="58993"/>
                  </a:cubicBezTo>
                  <a:cubicBezTo>
                    <a:pt x="297976" y="52757"/>
                    <a:pt x="287398" y="49455"/>
                    <a:pt x="273532" y="49455"/>
                  </a:cubicBezTo>
                  <a:close/>
                  <a:moveTo>
                    <a:pt x="203211" y="17603"/>
                  </a:moveTo>
                  <a:cubicBezTo>
                    <a:pt x="202816" y="17603"/>
                    <a:pt x="202435" y="17616"/>
                    <a:pt x="202053" y="17630"/>
                  </a:cubicBezTo>
                  <a:cubicBezTo>
                    <a:pt x="201856" y="27023"/>
                    <a:pt x="194186" y="34562"/>
                    <a:pt x="184753" y="34562"/>
                  </a:cubicBezTo>
                  <a:cubicBezTo>
                    <a:pt x="181213" y="34562"/>
                    <a:pt x="177938" y="33509"/>
                    <a:pt x="175201" y="31694"/>
                  </a:cubicBezTo>
                  <a:lnTo>
                    <a:pt x="175214" y="31667"/>
                  </a:lnTo>
                  <a:cubicBezTo>
                    <a:pt x="171399" y="35759"/>
                    <a:pt x="167794" y="40706"/>
                    <a:pt x="164465" y="46455"/>
                  </a:cubicBezTo>
                  <a:cubicBezTo>
                    <a:pt x="171807" y="48126"/>
                    <a:pt x="179490" y="50415"/>
                    <a:pt x="187384" y="53283"/>
                  </a:cubicBezTo>
                  <a:cubicBezTo>
                    <a:pt x="193015" y="55323"/>
                    <a:pt x="198738" y="57651"/>
                    <a:pt x="204540" y="60282"/>
                  </a:cubicBezTo>
                  <a:cubicBezTo>
                    <a:pt x="207855" y="58756"/>
                    <a:pt x="211170" y="57335"/>
                    <a:pt x="214446" y="56007"/>
                  </a:cubicBezTo>
                  <a:cubicBezTo>
                    <a:pt x="215828" y="55454"/>
                    <a:pt x="217209" y="54902"/>
                    <a:pt x="218591" y="54375"/>
                  </a:cubicBezTo>
                  <a:cubicBezTo>
                    <a:pt x="219630" y="53981"/>
                    <a:pt x="220669" y="53599"/>
                    <a:pt x="221709" y="53217"/>
                  </a:cubicBezTo>
                  <a:cubicBezTo>
                    <a:pt x="222064" y="53086"/>
                    <a:pt x="222432" y="52954"/>
                    <a:pt x="222788" y="52823"/>
                  </a:cubicBezTo>
                  <a:cubicBezTo>
                    <a:pt x="224090" y="52362"/>
                    <a:pt x="225366" y="51915"/>
                    <a:pt x="226656" y="51481"/>
                  </a:cubicBezTo>
                  <a:cubicBezTo>
                    <a:pt x="226721" y="51455"/>
                    <a:pt x="226787" y="51441"/>
                    <a:pt x="226853" y="51415"/>
                  </a:cubicBezTo>
                  <a:cubicBezTo>
                    <a:pt x="232063" y="49652"/>
                    <a:pt x="237194" y="48126"/>
                    <a:pt x="242193" y="46889"/>
                  </a:cubicBezTo>
                  <a:cubicBezTo>
                    <a:pt x="231379" y="27997"/>
                    <a:pt x="217564" y="17603"/>
                    <a:pt x="203211" y="17603"/>
                  </a:cubicBezTo>
                  <a:close/>
                  <a:moveTo>
                    <a:pt x="184700" y="0"/>
                  </a:moveTo>
                  <a:cubicBezTo>
                    <a:pt x="192028" y="0"/>
                    <a:pt x="198290" y="4565"/>
                    <a:pt x="200816" y="10999"/>
                  </a:cubicBezTo>
                  <a:cubicBezTo>
                    <a:pt x="201580" y="10959"/>
                    <a:pt x="202369" y="10920"/>
                    <a:pt x="203145" y="10920"/>
                  </a:cubicBezTo>
                  <a:cubicBezTo>
                    <a:pt x="221090" y="10920"/>
                    <a:pt x="237312" y="24116"/>
                    <a:pt x="248995" y="45403"/>
                  </a:cubicBezTo>
                  <a:cubicBezTo>
                    <a:pt x="257718" y="43626"/>
                    <a:pt x="265980" y="42706"/>
                    <a:pt x="273532" y="42706"/>
                  </a:cubicBezTo>
                  <a:cubicBezTo>
                    <a:pt x="288806" y="42706"/>
                    <a:pt x="301226" y="46429"/>
                    <a:pt x="308922" y="54270"/>
                  </a:cubicBezTo>
                  <a:cubicBezTo>
                    <a:pt x="318276" y="63795"/>
                    <a:pt x="319197" y="77951"/>
                    <a:pt x="313145" y="94055"/>
                  </a:cubicBezTo>
                  <a:cubicBezTo>
                    <a:pt x="310619" y="100765"/>
                    <a:pt x="306896" y="107830"/>
                    <a:pt x="302041" y="115039"/>
                  </a:cubicBezTo>
                  <a:cubicBezTo>
                    <a:pt x="300805" y="116881"/>
                    <a:pt x="299502" y="118723"/>
                    <a:pt x="298121" y="120578"/>
                  </a:cubicBezTo>
                  <a:cubicBezTo>
                    <a:pt x="298081" y="120644"/>
                    <a:pt x="298029" y="120696"/>
                    <a:pt x="297989" y="120762"/>
                  </a:cubicBezTo>
                  <a:cubicBezTo>
                    <a:pt x="297371" y="121578"/>
                    <a:pt x="296739" y="122407"/>
                    <a:pt x="296095" y="123236"/>
                  </a:cubicBezTo>
                  <a:cubicBezTo>
                    <a:pt x="295990" y="123367"/>
                    <a:pt x="295897" y="123499"/>
                    <a:pt x="295792" y="123630"/>
                  </a:cubicBezTo>
                  <a:cubicBezTo>
                    <a:pt x="295055" y="124564"/>
                    <a:pt x="294306" y="125499"/>
                    <a:pt x="293542" y="126446"/>
                  </a:cubicBezTo>
                  <a:cubicBezTo>
                    <a:pt x="294621" y="127748"/>
                    <a:pt x="295661" y="129064"/>
                    <a:pt x="296674" y="130366"/>
                  </a:cubicBezTo>
                  <a:cubicBezTo>
                    <a:pt x="296726" y="130432"/>
                    <a:pt x="296792" y="130511"/>
                    <a:pt x="296845" y="130577"/>
                  </a:cubicBezTo>
                  <a:cubicBezTo>
                    <a:pt x="297818" y="131840"/>
                    <a:pt x="298766" y="133103"/>
                    <a:pt x="299673" y="134366"/>
                  </a:cubicBezTo>
                  <a:cubicBezTo>
                    <a:pt x="299752" y="134484"/>
                    <a:pt x="299831" y="134590"/>
                    <a:pt x="299910" y="134695"/>
                  </a:cubicBezTo>
                  <a:cubicBezTo>
                    <a:pt x="300805" y="135945"/>
                    <a:pt x="301673" y="137181"/>
                    <a:pt x="302502" y="138418"/>
                  </a:cubicBezTo>
                  <a:cubicBezTo>
                    <a:pt x="302581" y="138537"/>
                    <a:pt x="302660" y="138655"/>
                    <a:pt x="302739" y="138773"/>
                  </a:cubicBezTo>
                  <a:cubicBezTo>
                    <a:pt x="303554" y="140010"/>
                    <a:pt x="304344" y="141247"/>
                    <a:pt x="305107" y="142470"/>
                  </a:cubicBezTo>
                  <a:cubicBezTo>
                    <a:pt x="305186" y="142576"/>
                    <a:pt x="305252" y="142694"/>
                    <a:pt x="305317" y="142799"/>
                  </a:cubicBezTo>
                  <a:cubicBezTo>
                    <a:pt x="306081" y="144049"/>
                    <a:pt x="306804" y="145286"/>
                    <a:pt x="307501" y="146509"/>
                  </a:cubicBezTo>
                  <a:cubicBezTo>
                    <a:pt x="307554" y="146601"/>
                    <a:pt x="307607" y="146693"/>
                    <a:pt x="307659" y="146786"/>
                  </a:cubicBezTo>
                  <a:cubicBezTo>
                    <a:pt x="308357" y="148035"/>
                    <a:pt x="309014" y="149272"/>
                    <a:pt x="309646" y="150509"/>
                  </a:cubicBezTo>
                  <a:cubicBezTo>
                    <a:pt x="309685" y="150575"/>
                    <a:pt x="309712" y="150640"/>
                    <a:pt x="309751" y="150706"/>
                  </a:cubicBezTo>
                  <a:cubicBezTo>
                    <a:pt x="310383" y="151969"/>
                    <a:pt x="310988" y="153219"/>
                    <a:pt x="311540" y="154456"/>
                  </a:cubicBezTo>
                  <a:cubicBezTo>
                    <a:pt x="311567" y="154495"/>
                    <a:pt x="311580" y="154521"/>
                    <a:pt x="311593" y="154561"/>
                  </a:cubicBezTo>
                  <a:cubicBezTo>
                    <a:pt x="314593" y="161284"/>
                    <a:pt x="316448" y="167757"/>
                    <a:pt x="317013" y="173796"/>
                  </a:cubicBezTo>
                  <a:cubicBezTo>
                    <a:pt x="317448" y="178427"/>
                    <a:pt x="317132" y="182808"/>
                    <a:pt x="315974" y="186847"/>
                  </a:cubicBezTo>
                  <a:cubicBezTo>
                    <a:pt x="315961" y="186873"/>
                    <a:pt x="315948" y="186939"/>
                    <a:pt x="315948" y="186939"/>
                  </a:cubicBezTo>
                  <a:cubicBezTo>
                    <a:pt x="315790" y="187491"/>
                    <a:pt x="315606" y="188031"/>
                    <a:pt x="315422" y="188570"/>
                  </a:cubicBezTo>
                  <a:cubicBezTo>
                    <a:pt x="312803" y="195990"/>
                    <a:pt x="307449" y="201490"/>
                    <a:pt x="299989" y="205081"/>
                  </a:cubicBezTo>
                  <a:cubicBezTo>
                    <a:pt x="299529" y="214225"/>
                    <a:pt x="291990" y="221487"/>
                    <a:pt x="282741" y="221487"/>
                  </a:cubicBezTo>
                  <a:cubicBezTo>
                    <a:pt x="275229" y="221487"/>
                    <a:pt x="268835" y="216685"/>
                    <a:pt x="266467" y="209989"/>
                  </a:cubicBezTo>
                  <a:cubicBezTo>
                    <a:pt x="260980" y="209620"/>
                    <a:pt x="255179" y="208818"/>
                    <a:pt x="249127" y="207607"/>
                  </a:cubicBezTo>
                  <a:cubicBezTo>
                    <a:pt x="242917" y="218988"/>
                    <a:pt x="235405" y="228079"/>
                    <a:pt x="227024" y="234091"/>
                  </a:cubicBezTo>
                  <a:cubicBezTo>
                    <a:pt x="227011" y="234104"/>
                    <a:pt x="226984" y="234117"/>
                    <a:pt x="226971" y="234131"/>
                  </a:cubicBezTo>
                  <a:cubicBezTo>
                    <a:pt x="226471" y="234486"/>
                    <a:pt x="225985" y="234828"/>
                    <a:pt x="225485" y="235157"/>
                  </a:cubicBezTo>
                  <a:cubicBezTo>
                    <a:pt x="225379" y="235223"/>
                    <a:pt x="225261" y="235288"/>
                    <a:pt x="225156" y="235367"/>
                  </a:cubicBezTo>
                  <a:cubicBezTo>
                    <a:pt x="224735" y="235630"/>
                    <a:pt x="224327" y="235907"/>
                    <a:pt x="223906" y="236157"/>
                  </a:cubicBezTo>
                  <a:cubicBezTo>
                    <a:pt x="223801" y="236223"/>
                    <a:pt x="223682" y="236288"/>
                    <a:pt x="223577" y="236354"/>
                  </a:cubicBezTo>
                  <a:cubicBezTo>
                    <a:pt x="223143" y="236617"/>
                    <a:pt x="222722" y="236867"/>
                    <a:pt x="222288" y="237104"/>
                  </a:cubicBezTo>
                  <a:cubicBezTo>
                    <a:pt x="222196" y="237157"/>
                    <a:pt x="222103" y="237196"/>
                    <a:pt x="222011" y="237249"/>
                  </a:cubicBezTo>
                  <a:cubicBezTo>
                    <a:pt x="221564" y="237499"/>
                    <a:pt x="221104" y="237735"/>
                    <a:pt x="220643" y="237972"/>
                  </a:cubicBezTo>
                  <a:cubicBezTo>
                    <a:pt x="220577" y="237999"/>
                    <a:pt x="220512" y="238038"/>
                    <a:pt x="220446" y="238064"/>
                  </a:cubicBezTo>
                  <a:cubicBezTo>
                    <a:pt x="219959" y="238314"/>
                    <a:pt x="219472" y="238551"/>
                    <a:pt x="218972" y="238775"/>
                  </a:cubicBezTo>
                  <a:cubicBezTo>
                    <a:pt x="218920" y="238788"/>
                    <a:pt x="218880" y="238814"/>
                    <a:pt x="218841" y="238827"/>
                  </a:cubicBezTo>
                  <a:cubicBezTo>
                    <a:pt x="218328" y="239064"/>
                    <a:pt x="217801" y="239288"/>
                    <a:pt x="217275" y="239498"/>
                  </a:cubicBezTo>
                  <a:cubicBezTo>
                    <a:pt x="217249" y="239512"/>
                    <a:pt x="217236" y="239525"/>
                    <a:pt x="217209" y="239525"/>
                  </a:cubicBezTo>
                  <a:cubicBezTo>
                    <a:pt x="216670" y="239748"/>
                    <a:pt x="216117" y="239946"/>
                    <a:pt x="215565" y="240143"/>
                  </a:cubicBezTo>
                  <a:cubicBezTo>
                    <a:pt x="214999" y="240340"/>
                    <a:pt x="214433" y="240525"/>
                    <a:pt x="213868" y="240696"/>
                  </a:cubicBezTo>
                  <a:cubicBezTo>
                    <a:pt x="210381" y="241748"/>
                    <a:pt x="206803" y="242301"/>
                    <a:pt x="203158" y="242301"/>
                  </a:cubicBezTo>
                  <a:cubicBezTo>
                    <a:pt x="195291" y="242301"/>
                    <a:pt x="187752" y="239762"/>
                    <a:pt x="180779" y="235117"/>
                  </a:cubicBezTo>
                  <a:cubicBezTo>
                    <a:pt x="180753" y="235091"/>
                    <a:pt x="180713" y="235078"/>
                    <a:pt x="180687" y="235052"/>
                  </a:cubicBezTo>
                  <a:cubicBezTo>
                    <a:pt x="180187" y="234710"/>
                    <a:pt x="179700" y="234367"/>
                    <a:pt x="179201" y="234012"/>
                  </a:cubicBezTo>
                  <a:cubicBezTo>
                    <a:pt x="179082" y="233920"/>
                    <a:pt x="178964" y="233841"/>
                    <a:pt x="178845" y="233749"/>
                  </a:cubicBezTo>
                  <a:cubicBezTo>
                    <a:pt x="178437" y="233447"/>
                    <a:pt x="178030" y="233144"/>
                    <a:pt x="177622" y="232828"/>
                  </a:cubicBezTo>
                  <a:cubicBezTo>
                    <a:pt x="177477" y="232710"/>
                    <a:pt x="177319" y="232591"/>
                    <a:pt x="177174" y="232473"/>
                  </a:cubicBezTo>
                  <a:cubicBezTo>
                    <a:pt x="176806" y="232184"/>
                    <a:pt x="176425" y="231881"/>
                    <a:pt x="176056" y="231565"/>
                  </a:cubicBezTo>
                  <a:cubicBezTo>
                    <a:pt x="175898" y="231434"/>
                    <a:pt x="175740" y="231302"/>
                    <a:pt x="175583" y="231170"/>
                  </a:cubicBezTo>
                  <a:cubicBezTo>
                    <a:pt x="175214" y="230855"/>
                    <a:pt x="174846" y="230539"/>
                    <a:pt x="174477" y="230210"/>
                  </a:cubicBezTo>
                  <a:cubicBezTo>
                    <a:pt x="174320" y="230078"/>
                    <a:pt x="174175" y="229947"/>
                    <a:pt x="174030" y="229815"/>
                  </a:cubicBezTo>
                  <a:cubicBezTo>
                    <a:pt x="173635" y="229447"/>
                    <a:pt x="173241" y="229079"/>
                    <a:pt x="172846" y="228697"/>
                  </a:cubicBezTo>
                  <a:cubicBezTo>
                    <a:pt x="172741" y="228592"/>
                    <a:pt x="172635" y="228500"/>
                    <a:pt x="172530" y="228394"/>
                  </a:cubicBezTo>
                  <a:cubicBezTo>
                    <a:pt x="167005" y="223027"/>
                    <a:pt x="161966" y="216238"/>
                    <a:pt x="157571" y="208318"/>
                  </a:cubicBezTo>
                  <a:cubicBezTo>
                    <a:pt x="149822" y="209752"/>
                    <a:pt x="142231" y="210489"/>
                    <a:pt x="135692" y="210489"/>
                  </a:cubicBezTo>
                  <a:cubicBezTo>
                    <a:pt x="129154" y="210489"/>
                    <a:pt x="123141" y="209791"/>
                    <a:pt x="117787" y="208397"/>
                  </a:cubicBezTo>
                  <a:cubicBezTo>
                    <a:pt x="116576" y="208081"/>
                    <a:pt x="115418" y="207726"/>
                    <a:pt x="114287" y="207344"/>
                  </a:cubicBezTo>
                  <a:cubicBezTo>
                    <a:pt x="114182" y="207305"/>
                    <a:pt x="114090" y="207279"/>
                    <a:pt x="113984" y="207239"/>
                  </a:cubicBezTo>
                  <a:cubicBezTo>
                    <a:pt x="111708" y="206450"/>
                    <a:pt x="109564" y="205502"/>
                    <a:pt x="107590" y="204397"/>
                  </a:cubicBezTo>
                  <a:cubicBezTo>
                    <a:pt x="107564" y="204397"/>
                    <a:pt x="107551" y="204371"/>
                    <a:pt x="107525" y="204371"/>
                  </a:cubicBezTo>
                  <a:cubicBezTo>
                    <a:pt x="106525" y="203805"/>
                    <a:pt x="105551" y="203200"/>
                    <a:pt x="104630" y="202555"/>
                  </a:cubicBezTo>
                  <a:cubicBezTo>
                    <a:pt x="103065" y="201450"/>
                    <a:pt x="101604" y="200253"/>
                    <a:pt x="100302" y="198924"/>
                  </a:cubicBezTo>
                  <a:cubicBezTo>
                    <a:pt x="96921" y="195477"/>
                    <a:pt x="94658" y="191425"/>
                    <a:pt x="93408" y="186912"/>
                  </a:cubicBezTo>
                  <a:cubicBezTo>
                    <a:pt x="93276" y="186439"/>
                    <a:pt x="93158" y="185952"/>
                    <a:pt x="93053" y="185465"/>
                  </a:cubicBezTo>
                  <a:cubicBezTo>
                    <a:pt x="93053" y="185413"/>
                    <a:pt x="93026" y="185373"/>
                    <a:pt x="93026" y="185321"/>
                  </a:cubicBezTo>
                  <a:cubicBezTo>
                    <a:pt x="92921" y="184834"/>
                    <a:pt x="92829" y="184347"/>
                    <a:pt x="92750" y="183860"/>
                  </a:cubicBezTo>
                  <a:cubicBezTo>
                    <a:pt x="92737" y="183821"/>
                    <a:pt x="92737" y="183781"/>
                    <a:pt x="92737" y="183742"/>
                  </a:cubicBezTo>
                  <a:cubicBezTo>
                    <a:pt x="92066" y="179716"/>
                    <a:pt x="92119" y="175374"/>
                    <a:pt x="92882" y="170783"/>
                  </a:cubicBezTo>
                  <a:cubicBezTo>
                    <a:pt x="87159" y="168941"/>
                    <a:pt x="82738" y="164205"/>
                    <a:pt x="81343" y="158297"/>
                  </a:cubicBezTo>
                  <a:cubicBezTo>
                    <a:pt x="81199" y="157719"/>
                    <a:pt x="81107" y="157126"/>
                    <a:pt x="81028" y="156534"/>
                  </a:cubicBezTo>
                  <a:cubicBezTo>
                    <a:pt x="81015" y="156416"/>
                    <a:pt x="81001" y="156284"/>
                    <a:pt x="80988" y="156166"/>
                  </a:cubicBezTo>
                  <a:cubicBezTo>
                    <a:pt x="80922" y="155548"/>
                    <a:pt x="80883" y="154929"/>
                    <a:pt x="80883" y="154298"/>
                  </a:cubicBezTo>
                  <a:cubicBezTo>
                    <a:pt x="80883" y="144733"/>
                    <a:pt x="88632" y="136984"/>
                    <a:pt x="98197" y="136984"/>
                  </a:cubicBezTo>
                  <a:cubicBezTo>
                    <a:pt x="101223" y="136984"/>
                    <a:pt x="104065" y="137760"/>
                    <a:pt x="106538" y="139129"/>
                  </a:cubicBezTo>
                  <a:cubicBezTo>
                    <a:pt x="109235" y="135037"/>
                    <a:pt x="112300" y="130893"/>
                    <a:pt x="115695" y="126735"/>
                  </a:cubicBezTo>
                  <a:cubicBezTo>
                    <a:pt x="114537" y="125314"/>
                    <a:pt x="113419" y="123907"/>
                    <a:pt x="112327" y="122499"/>
                  </a:cubicBezTo>
                  <a:cubicBezTo>
                    <a:pt x="105893" y="114158"/>
                    <a:pt x="100841" y="105869"/>
                    <a:pt x="97394" y="97949"/>
                  </a:cubicBezTo>
                  <a:cubicBezTo>
                    <a:pt x="97368" y="97910"/>
                    <a:pt x="97355" y="97883"/>
                    <a:pt x="97342" y="97844"/>
                  </a:cubicBezTo>
                  <a:cubicBezTo>
                    <a:pt x="96894" y="96805"/>
                    <a:pt x="96473" y="95778"/>
                    <a:pt x="96079" y="94765"/>
                  </a:cubicBezTo>
                  <a:cubicBezTo>
                    <a:pt x="95276" y="92713"/>
                    <a:pt x="94605" y="90674"/>
                    <a:pt x="94039" y="88674"/>
                  </a:cubicBezTo>
                  <a:lnTo>
                    <a:pt x="94053" y="88713"/>
                  </a:lnTo>
                  <a:cubicBezTo>
                    <a:pt x="91566" y="79885"/>
                    <a:pt x="91382" y="71702"/>
                    <a:pt x="93868" y="64650"/>
                  </a:cubicBezTo>
                  <a:cubicBezTo>
                    <a:pt x="96434" y="57401"/>
                    <a:pt x="101598" y="51990"/>
                    <a:pt x="108786" y="48392"/>
                  </a:cubicBezTo>
                  <a:lnTo>
                    <a:pt x="135811" y="43016"/>
                  </a:lnTo>
                  <a:lnTo>
                    <a:pt x="135811" y="49744"/>
                  </a:lnTo>
                  <a:lnTo>
                    <a:pt x="135850" y="49747"/>
                  </a:lnTo>
                  <a:lnTo>
                    <a:pt x="135850" y="49757"/>
                  </a:lnTo>
                  <a:cubicBezTo>
                    <a:pt x="126075" y="49757"/>
                    <a:pt x="117997" y="51323"/>
                    <a:pt x="111800" y="54428"/>
                  </a:cubicBezTo>
                  <a:cubicBezTo>
                    <a:pt x="106025" y="57322"/>
                    <a:pt x="102131" y="61519"/>
                    <a:pt x="100223" y="66900"/>
                  </a:cubicBezTo>
                  <a:cubicBezTo>
                    <a:pt x="98381" y="72123"/>
                    <a:pt x="98420" y="78412"/>
                    <a:pt x="100170" y="85411"/>
                  </a:cubicBezTo>
                  <a:cubicBezTo>
                    <a:pt x="100407" y="86385"/>
                    <a:pt x="100697" y="87358"/>
                    <a:pt x="100999" y="88358"/>
                  </a:cubicBezTo>
                  <a:cubicBezTo>
                    <a:pt x="101012" y="88384"/>
                    <a:pt x="101025" y="88424"/>
                    <a:pt x="101025" y="88450"/>
                  </a:cubicBezTo>
                  <a:cubicBezTo>
                    <a:pt x="101328" y="89437"/>
                    <a:pt x="101670" y="90437"/>
                    <a:pt x="102038" y="91437"/>
                  </a:cubicBezTo>
                  <a:cubicBezTo>
                    <a:pt x="102052" y="91476"/>
                    <a:pt x="102065" y="91516"/>
                    <a:pt x="102078" y="91555"/>
                  </a:cubicBezTo>
                  <a:cubicBezTo>
                    <a:pt x="102446" y="92568"/>
                    <a:pt x="102854" y="93594"/>
                    <a:pt x="103288" y="94621"/>
                  </a:cubicBezTo>
                  <a:cubicBezTo>
                    <a:pt x="103301" y="94647"/>
                    <a:pt x="103328" y="94673"/>
                    <a:pt x="103328" y="94700"/>
                  </a:cubicBezTo>
                  <a:cubicBezTo>
                    <a:pt x="103775" y="95752"/>
                    <a:pt x="104249" y="96818"/>
                    <a:pt x="104762" y="97883"/>
                  </a:cubicBezTo>
                  <a:cubicBezTo>
                    <a:pt x="106143" y="100778"/>
                    <a:pt x="107748" y="103738"/>
                    <a:pt x="109590" y="106764"/>
                  </a:cubicBezTo>
                  <a:cubicBezTo>
                    <a:pt x="109972" y="107395"/>
                    <a:pt x="110380" y="108040"/>
                    <a:pt x="110787" y="108672"/>
                  </a:cubicBezTo>
                  <a:cubicBezTo>
                    <a:pt x="111090" y="109145"/>
                    <a:pt x="111393" y="109619"/>
                    <a:pt x="111708" y="110092"/>
                  </a:cubicBezTo>
                  <a:cubicBezTo>
                    <a:pt x="112077" y="110658"/>
                    <a:pt x="112458" y="111224"/>
                    <a:pt x="112840" y="111790"/>
                  </a:cubicBezTo>
                  <a:cubicBezTo>
                    <a:pt x="113261" y="112421"/>
                    <a:pt x="113708" y="113053"/>
                    <a:pt x="114155" y="113684"/>
                  </a:cubicBezTo>
                  <a:cubicBezTo>
                    <a:pt x="114471" y="114131"/>
                    <a:pt x="114774" y="114579"/>
                    <a:pt x="115103" y="115026"/>
                  </a:cubicBezTo>
                  <a:cubicBezTo>
                    <a:pt x="115918" y="116144"/>
                    <a:pt x="116734" y="117263"/>
                    <a:pt x="117602" y="118381"/>
                  </a:cubicBezTo>
                  <a:cubicBezTo>
                    <a:pt x="118418" y="119447"/>
                    <a:pt x="119273" y="120512"/>
                    <a:pt x="120128" y="121565"/>
                  </a:cubicBezTo>
                  <a:cubicBezTo>
                    <a:pt x="126023" y="114895"/>
                    <a:pt x="132759" y="108224"/>
                    <a:pt x="140284" y="101686"/>
                  </a:cubicBezTo>
                  <a:cubicBezTo>
                    <a:pt x="140534" y="99554"/>
                    <a:pt x="140837" y="97462"/>
                    <a:pt x="141165" y="95397"/>
                  </a:cubicBezTo>
                  <a:cubicBezTo>
                    <a:pt x="141481" y="93371"/>
                    <a:pt x="141836" y="91371"/>
                    <a:pt x="142218" y="89384"/>
                  </a:cubicBezTo>
                  <a:lnTo>
                    <a:pt x="142218" y="89358"/>
                  </a:lnTo>
                  <a:cubicBezTo>
                    <a:pt x="143349" y="83385"/>
                    <a:pt x="144757" y="77636"/>
                    <a:pt x="146389" y="72149"/>
                  </a:cubicBezTo>
                  <a:cubicBezTo>
                    <a:pt x="146533" y="71650"/>
                    <a:pt x="146678" y="71150"/>
                    <a:pt x="146836" y="70650"/>
                  </a:cubicBezTo>
                  <a:cubicBezTo>
                    <a:pt x="147204" y="69426"/>
                    <a:pt x="147599" y="68216"/>
                    <a:pt x="147994" y="67019"/>
                  </a:cubicBezTo>
                  <a:cubicBezTo>
                    <a:pt x="148151" y="66519"/>
                    <a:pt x="148323" y="66045"/>
                    <a:pt x="148494" y="65558"/>
                  </a:cubicBezTo>
                  <a:cubicBezTo>
                    <a:pt x="150217" y="60585"/>
                    <a:pt x="152112" y="55836"/>
                    <a:pt x="154230" y="51402"/>
                  </a:cubicBezTo>
                  <a:lnTo>
                    <a:pt x="135850" y="49747"/>
                  </a:lnTo>
                  <a:lnTo>
                    <a:pt x="135850" y="43008"/>
                  </a:lnTo>
                  <a:lnTo>
                    <a:pt x="135811" y="43016"/>
                  </a:lnTo>
                  <a:lnTo>
                    <a:pt x="135811" y="42995"/>
                  </a:lnTo>
                  <a:cubicBezTo>
                    <a:pt x="142507" y="42995"/>
                    <a:pt x="149770" y="43705"/>
                    <a:pt x="157466" y="45100"/>
                  </a:cubicBezTo>
                  <a:cubicBezTo>
                    <a:pt x="161308" y="38140"/>
                    <a:pt x="165649" y="32062"/>
                    <a:pt x="170373" y="27023"/>
                  </a:cubicBezTo>
                  <a:cubicBezTo>
                    <a:pt x="168491" y="24260"/>
                    <a:pt x="167386" y="20919"/>
                    <a:pt x="167386" y="17314"/>
                  </a:cubicBezTo>
                  <a:cubicBezTo>
                    <a:pt x="167386" y="7749"/>
                    <a:pt x="175135" y="0"/>
                    <a:pt x="184700" y="0"/>
                  </a:cubicBezTo>
                  <a:close/>
                </a:path>
              </a:pathLst>
            </a:custGeom>
            <a:solidFill>
              <a:schemeClr val="accent2"/>
            </a:solidFill>
            <a:ln w="12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cxnSp>
        <p:nvCxnSpPr>
          <p:cNvPr id="90" name="Соединительная линия уступом 25">
            <a:extLst>
              <a:ext uri="{FF2B5EF4-FFF2-40B4-BE49-F238E27FC236}">
                <a16:creationId xmlns:a16="http://schemas.microsoft.com/office/drawing/2014/main" id="{E217FA40-BE07-0E07-89EE-3F1B5FECE1BD}"/>
              </a:ext>
            </a:extLst>
          </p:cNvPr>
          <p:cNvCxnSpPr>
            <a:cxnSpLocks/>
          </p:cNvCxnSpPr>
          <p:nvPr/>
        </p:nvCxnSpPr>
        <p:spPr bwMode="auto">
          <a:xfrm flipV="1">
            <a:off x="7793483" y="2928263"/>
            <a:ext cx="3803912" cy="1554038"/>
          </a:xfrm>
          <a:prstGeom prst="bentConnector3">
            <a:avLst>
              <a:gd name="adj1" fmla="val 5817"/>
            </a:avLst>
          </a:prstGeom>
          <a:ln w="19050">
            <a:solidFill>
              <a:srgbClr val="04609E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5" name="Группа 104">
            <a:extLst>
              <a:ext uri="{FF2B5EF4-FFF2-40B4-BE49-F238E27FC236}">
                <a16:creationId xmlns:a16="http://schemas.microsoft.com/office/drawing/2014/main" id="{54FE526D-88A5-11EF-6383-0E9EFEC7E897}"/>
              </a:ext>
            </a:extLst>
          </p:cNvPr>
          <p:cNvGrpSpPr/>
          <p:nvPr/>
        </p:nvGrpSpPr>
        <p:grpSpPr>
          <a:xfrm>
            <a:off x="11116918" y="3379922"/>
            <a:ext cx="511054" cy="503873"/>
            <a:chOff x="8540406" y="4583641"/>
            <a:chExt cx="719999" cy="720000"/>
          </a:xfrm>
        </p:grpSpPr>
        <p:pic>
          <p:nvPicPr>
            <p:cNvPr id="106" name="Рисунок 105">
              <a:extLst>
                <a:ext uri="{FF2B5EF4-FFF2-40B4-BE49-F238E27FC236}">
                  <a16:creationId xmlns:a16="http://schemas.microsoft.com/office/drawing/2014/main" id="{FB12461B-EE31-FB1D-89D0-FD72F438C86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/>
            <a:stretch/>
          </p:blipFill>
          <p:spPr>
            <a:xfrm>
              <a:off x="8540406" y="4583641"/>
              <a:ext cx="719999" cy="720000"/>
            </a:xfrm>
            <a:prstGeom prst="rect">
              <a:avLst/>
            </a:prstGeom>
          </p:spPr>
        </p:pic>
        <p:sp>
          <p:nvSpPr>
            <p:cNvPr id="107" name="Полилиния 217">
              <a:extLst>
                <a:ext uri="{FF2B5EF4-FFF2-40B4-BE49-F238E27FC236}">
                  <a16:creationId xmlns:a16="http://schemas.microsoft.com/office/drawing/2014/main" id="{CD581CE4-F843-A7BE-D755-077D04D6C616}"/>
                </a:ext>
              </a:extLst>
            </p:cNvPr>
            <p:cNvSpPr/>
            <p:nvPr/>
          </p:nvSpPr>
          <p:spPr>
            <a:xfrm>
              <a:off x="8674903" y="4736848"/>
              <a:ext cx="455398" cy="450157"/>
            </a:xfrm>
            <a:custGeom>
              <a:avLst/>
              <a:gdLst>
                <a:gd name="connsiteX0" fmla="*/ 245442 w 455398"/>
                <a:gd name="connsiteY0" fmla="*/ 419117 h 450157"/>
                <a:gd name="connsiteX1" fmla="*/ 277117 w 455398"/>
                <a:gd name="connsiteY1" fmla="*/ 445579 h 450157"/>
                <a:gd name="connsiteX2" fmla="*/ 247231 w 455398"/>
                <a:gd name="connsiteY2" fmla="*/ 450157 h 450157"/>
                <a:gd name="connsiteX3" fmla="*/ 407701 w 455398"/>
                <a:gd name="connsiteY3" fmla="*/ 286268 h 450157"/>
                <a:gd name="connsiteX4" fmla="*/ 416670 w 455398"/>
                <a:gd name="connsiteY4" fmla="*/ 295385 h 450157"/>
                <a:gd name="connsiteX5" fmla="*/ 328050 w 455398"/>
                <a:gd name="connsiteY5" fmla="*/ 385473 h 450157"/>
                <a:gd name="connsiteX6" fmla="*/ 269126 w 455398"/>
                <a:gd name="connsiteY6" fmla="*/ 325574 h 450157"/>
                <a:gd name="connsiteX7" fmla="*/ 278095 w 455398"/>
                <a:gd name="connsiteY7" fmla="*/ 316456 h 450157"/>
                <a:gd name="connsiteX8" fmla="*/ 328050 w 455398"/>
                <a:gd name="connsiteY8" fmla="*/ 367239 h 450157"/>
                <a:gd name="connsiteX9" fmla="*/ 117675 w 455398"/>
                <a:gd name="connsiteY9" fmla="*/ 223337 h 450157"/>
                <a:gd name="connsiteX10" fmla="*/ 155477 w 455398"/>
                <a:gd name="connsiteY10" fmla="*/ 223337 h 450157"/>
                <a:gd name="connsiteX11" fmla="*/ 158674 w 455398"/>
                <a:gd name="connsiteY11" fmla="*/ 240720 h 450157"/>
                <a:gd name="connsiteX12" fmla="*/ 161110 w 455398"/>
                <a:gd name="connsiteY12" fmla="*/ 242797 h 450157"/>
                <a:gd name="connsiteX13" fmla="*/ 176890 w 455398"/>
                <a:gd name="connsiteY13" fmla="*/ 242797 h 450157"/>
                <a:gd name="connsiteX14" fmla="*/ 179339 w 455398"/>
                <a:gd name="connsiteY14" fmla="*/ 240720 h 450157"/>
                <a:gd name="connsiteX15" fmla="*/ 182523 w 455398"/>
                <a:gd name="connsiteY15" fmla="*/ 223337 h 450157"/>
                <a:gd name="connsiteX16" fmla="*/ 220059 w 455398"/>
                <a:gd name="connsiteY16" fmla="*/ 223337 h 450157"/>
                <a:gd name="connsiteX17" fmla="*/ 220485 w 455398"/>
                <a:gd name="connsiteY17" fmla="*/ 223344 h 450157"/>
                <a:gd name="connsiteX18" fmla="*/ 230042 w 455398"/>
                <a:gd name="connsiteY18" fmla="*/ 233809 h 450157"/>
                <a:gd name="connsiteX19" fmla="*/ 229027 w 455398"/>
                <a:gd name="connsiteY19" fmla="*/ 262101 h 450157"/>
                <a:gd name="connsiteX20" fmla="*/ 213475 w 455398"/>
                <a:gd name="connsiteY20" fmla="*/ 351648 h 450157"/>
                <a:gd name="connsiteX21" fmla="*/ 209010 w 455398"/>
                <a:gd name="connsiteY21" fmla="*/ 352254 h 450157"/>
                <a:gd name="connsiteX22" fmla="*/ 208325 w 455398"/>
                <a:gd name="connsiteY22" fmla="*/ 352254 h 450157"/>
                <a:gd name="connsiteX23" fmla="*/ 205788 w 455398"/>
                <a:gd name="connsiteY23" fmla="*/ 354614 h 450157"/>
                <a:gd name="connsiteX24" fmla="*/ 199724 w 455398"/>
                <a:gd name="connsiteY24" fmla="*/ 449615 h 450157"/>
                <a:gd name="connsiteX25" fmla="*/ 137705 w 455398"/>
                <a:gd name="connsiteY25" fmla="*/ 434011 h 450157"/>
                <a:gd name="connsiteX26" fmla="*/ 132174 w 455398"/>
                <a:gd name="connsiteY26" fmla="*/ 354601 h 450157"/>
                <a:gd name="connsiteX27" fmla="*/ 129637 w 455398"/>
                <a:gd name="connsiteY27" fmla="*/ 352254 h 450157"/>
                <a:gd name="connsiteX28" fmla="*/ 128711 w 455398"/>
                <a:gd name="connsiteY28" fmla="*/ 352254 h 450157"/>
                <a:gd name="connsiteX29" fmla="*/ 111332 w 455398"/>
                <a:gd name="connsiteY29" fmla="*/ 335219 h 450157"/>
                <a:gd name="connsiteX30" fmla="*/ 107742 w 455398"/>
                <a:gd name="connsiteY30" fmla="*/ 233809 h 450157"/>
                <a:gd name="connsiteX31" fmla="*/ 107736 w 455398"/>
                <a:gd name="connsiteY31" fmla="*/ 233454 h 450157"/>
                <a:gd name="connsiteX32" fmla="*/ 117675 w 455398"/>
                <a:gd name="connsiteY32" fmla="*/ 223337 h 450157"/>
                <a:gd name="connsiteX33" fmla="*/ 344744 w 455398"/>
                <a:gd name="connsiteY33" fmla="*/ 206483 h 450157"/>
                <a:gd name="connsiteX34" fmla="*/ 455398 w 455398"/>
                <a:gd name="connsiteY34" fmla="*/ 280400 h 450157"/>
                <a:gd name="connsiteX35" fmla="*/ 448574 w 455398"/>
                <a:gd name="connsiteY35" fmla="*/ 299511 h 450157"/>
                <a:gd name="connsiteX36" fmla="*/ 375100 w 455398"/>
                <a:gd name="connsiteY36" fmla="*/ 223790 h 450157"/>
                <a:gd name="connsiteX37" fmla="*/ 241256 w 455398"/>
                <a:gd name="connsiteY37" fmla="*/ 298068 h 450157"/>
                <a:gd name="connsiteX38" fmla="*/ 314324 w 455398"/>
                <a:gd name="connsiteY38" fmla="*/ 434128 h 450157"/>
                <a:gd name="connsiteX39" fmla="*/ 295398 w 455398"/>
                <a:gd name="connsiteY39" fmla="*/ 440782 h 450157"/>
                <a:gd name="connsiteX40" fmla="*/ 224178 w 455398"/>
                <a:gd name="connsiteY40" fmla="*/ 328935 h 450157"/>
                <a:gd name="connsiteX41" fmla="*/ 344744 w 455398"/>
                <a:gd name="connsiteY41" fmla="*/ 206483 h 450157"/>
                <a:gd name="connsiteX42" fmla="*/ 224397 w 455398"/>
                <a:gd name="connsiteY42" fmla="*/ 174734 h 450157"/>
                <a:gd name="connsiteX43" fmla="*/ 262288 w 455398"/>
                <a:gd name="connsiteY43" fmla="*/ 174734 h 450157"/>
                <a:gd name="connsiteX44" fmla="*/ 265447 w 455398"/>
                <a:gd name="connsiteY44" fmla="*/ 192169 h 450157"/>
                <a:gd name="connsiteX45" fmla="*/ 267895 w 455398"/>
                <a:gd name="connsiteY45" fmla="*/ 194232 h 450157"/>
                <a:gd name="connsiteX46" fmla="*/ 283663 w 455398"/>
                <a:gd name="connsiteY46" fmla="*/ 194232 h 450157"/>
                <a:gd name="connsiteX47" fmla="*/ 286111 w 455398"/>
                <a:gd name="connsiteY47" fmla="*/ 192169 h 450157"/>
                <a:gd name="connsiteX48" fmla="*/ 289295 w 455398"/>
                <a:gd name="connsiteY48" fmla="*/ 174773 h 450157"/>
                <a:gd name="connsiteX49" fmla="*/ 326831 w 455398"/>
                <a:gd name="connsiteY49" fmla="*/ 174773 h 450157"/>
                <a:gd name="connsiteX50" fmla="*/ 327180 w 455398"/>
                <a:gd name="connsiteY50" fmla="*/ 174779 h 450157"/>
                <a:gd name="connsiteX51" fmla="*/ 336764 w 455398"/>
                <a:gd name="connsiteY51" fmla="*/ 185244 h 450157"/>
                <a:gd name="connsiteX52" fmla="*/ 336460 w 455398"/>
                <a:gd name="connsiteY52" fmla="*/ 193897 h 450157"/>
                <a:gd name="connsiteX53" fmla="*/ 238440 w 455398"/>
                <a:gd name="connsiteY53" fmla="*/ 247503 h 450157"/>
                <a:gd name="connsiteX54" fmla="*/ 238922 w 455398"/>
                <a:gd name="connsiteY54" fmla="*/ 234131 h 450157"/>
                <a:gd name="connsiteX55" fmla="*/ 238934 w 455398"/>
                <a:gd name="connsiteY55" fmla="*/ 233434 h 450157"/>
                <a:gd name="connsiteX56" fmla="*/ 220059 w 455398"/>
                <a:gd name="connsiteY56" fmla="*/ 214246 h 450157"/>
                <a:gd name="connsiteX57" fmla="*/ 215505 w 455398"/>
                <a:gd name="connsiteY57" fmla="*/ 214246 h 450157"/>
                <a:gd name="connsiteX58" fmla="*/ 214464 w 455398"/>
                <a:gd name="connsiteY58" fmla="*/ 185205 h 450157"/>
                <a:gd name="connsiteX59" fmla="*/ 214458 w 455398"/>
                <a:gd name="connsiteY59" fmla="*/ 184851 h 450157"/>
                <a:gd name="connsiteX60" fmla="*/ 224397 w 455398"/>
                <a:gd name="connsiteY60" fmla="*/ 174734 h 450157"/>
                <a:gd name="connsiteX61" fmla="*/ 9939 w 455398"/>
                <a:gd name="connsiteY61" fmla="*/ 174734 h 450157"/>
                <a:gd name="connsiteX62" fmla="*/ 47804 w 455398"/>
                <a:gd name="connsiteY62" fmla="*/ 174734 h 450157"/>
                <a:gd name="connsiteX63" fmla="*/ 51001 w 455398"/>
                <a:gd name="connsiteY63" fmla="*/ 192130 h 450157"/>
                <a:gd name="connsiteX64" fmla="*/ 53437 w 455398"/>
                <a:gd name="connsiteY64" fmla="*/ 194194 h 450157"/>
                <a:gd name="connsiteX65" fmla="*/ 69217 w 455398"/>
                <a:gd name="connsiteY65" fmla="*/ 194194 h 450157"/>
                <a:gd name="connsiteX66" fmla="*/ 71666 w 455398"/>
                <a:gd name="connsiteY66" fmla="*/ 192130 h 450157"/>
                <a:gd name="connsiteX67" fmla="*/ 74850 w 455398"/>
                <a:gd name="connsiteY67" fmla="*/ 174734 h 450157"/>
                <a:gd name="connsiteX68" fmla="*/ 112386 w 455398"/>
                <a:gd name="connsiteY68" fmla="*/ 174734 h 450157"/>
                <a:gd name="connsiteX69" fmla="*/ 112798 w 455398"/>
                <a:gd name="connsiteY69" fmla="*/ 174741 h 450157"/>
                <a:gd name="connsiteX70" fmla="*/ 122382 w 455398"/>
                <a:gd name="connsiteY70" fmla="*/ 185205 h 450157"/>
                <a:gd name="connsiteX71" fmla="*/ 121329 w 455398"/>
                <a:gd name="connsiteY71" fmla="*/ 214246 h 450157"/>
                <a:gd name="connsiteX72" fmla="*/ 117675 w 455398"/>
                <a:gd name="connsiteY72" fmla="*/ 214246 h 450157"/>
                <a:gd name="connsiteX73" fmla="*/ 116834 w 455398"/>
                <a:gd name="connsiteY73" fmla="*/ 214262 h 450157"/>
                <a:gd name="connsiteX74" fmla="*/ 98774 w 455398"/>
                <a:gd name="connsiteY74" fmla="*/ 234196 h 450157"/>
                <a:gd name="connsiteX75" fmla="*/ 101311 w 455398"/>
                <a:gd name="connsiteY75" fmla="*/ 303728 h 450157"/>
                <a:gd name="connsiteX76" fmla="*/ 100601 w 455398"/>
                <a:gd name="connsiteY76" fmla="*/ 303728 h 450157"/>
                <a:gd name="connsiteX77" fmla="*/ 98064 w 455398"/>
                <a:gd name="connsiteY77" fmla="*/ 306088 h 450157"/>
                <a:gd name="connsiteX78" fmla="*/ 91480 w 455398"/>
                <a:gd name="connsiteY78" fmla="*/ 409252 h 450157"/>
                <a:gd name="connsiteX79" fmla="*/ 27127 w 455398"/>
                <a:gd name="connsiteY79" fmla="*/ 343769 h 450157"/>
                <a:gd name="connsiteX80" fmla="*/ 24501 w 455398"/>
                <a:gd name="connsiteY80" fmla="*/ 306011 h 450157"/>
                <a:gd name="connsiteX81" fmla="*/ 21964 w 455398"/>
                <a:gd name="connsiteY81" fmla="*/ 303664 h 450157"/>
                <a:gd name="connsiteX82" fmla="*/ 21038 w 455398"/>
                <a:gd name="connsiteY82" fmla="*/ 303664 h 450157"/>
                <a:gd name="connsiteX83" fmla="*/ 3659 w 455398"/>
                <a:gd name="connsiteY83" fmla="*/ 286629 h 450157"/>
                <a:gd name="connsiteX84" fmla="*/ 6 w 455398"/>
                <a:gd name="connsiteY84" fmla="*/ 185205 h 450157"/>
                <a:gd name="connsiteX85" fmla="*/ 0 w 455398"/>
                <a:gd name="connsiteY85" fmla="*/ 184877 h 450157"/>
                <a:gd name="connsiteX86" fmla="*/ 9939 w 455398"/>
                <a:gd name="connsiteY86" fmla="*/ 174734 h 450157"/>
                <a:gd name="connsiteX87" fmla="*/ 168760 w 455398"/>
                <a:gd name="connsiteY87" fmla="*/ 145242 h 450157"/>
                <a:gd name="connsiteX88" fmla="*/ 194131 w 455398"/>
                <a:gd name="connsiteY88" fmla="*/ 171033 h 450157"/>
                <a:gd name="connsiteX89" fmla="*/ 168760 w 455398"/>
                <a:gd name="connsiteY89" fmla="*/ 196824 h 450157"/>
                <a:gd name="connsiteX90" fmla="*/ 143389 w 455398"/>
                <a:gd name="connsiteY90" fmla="*/ 171033 h 450157"/>
                <a:gd name="connsiteX91" fmla="*/ 168760 w 455398"/>
                <a:gd name="connsiteY91" fmla="*/ 145242 h 450157"/>
                <a:gd name="connsiteX92" fmla="*/ 59817 w 455398"/>
                <a:gd name="connsiteY92" fmla="*/ 106633 h 450157"/>
                <a:gd name="connsiteX93" fmla="*/ 85188 w 455398"/>
                <a:gd name="connsiteY93" fmla="*/ 132424 h 450157"/>
                <a:gd name="connsiteX94" fmla="*/ 59817 w 455398"/>
                <a:gd name="connsiteY94" fmla="*/ 158215 h 450157"/>
                <a:gd name="connsiteX95" fmla="*/ 34446 w 455398"/>
                <a:gd name="connsiteY95" fmla="*/ 132424 h 450157"/>
                <a:gd name="connsiteX96" fmla="*/ 59817 w 455398"/>
                <a:gd name="connsiteY96" fmla="*/ 106633 h 450157"/>
                <a:gd name="connsiteX97" fmla="*/ 275786 w 455398"/>
                <a:gd name="connsiteY97" fmla="*/ 104815 h 450157"/>
                <a:gd name="connsiteX98" fmla="*/ 301157 w 455398"/>
                <a:gd name="connsiteY98" fmla="*/ 130606 h 450157"/>
                <a:gd name="connsiteX99" fmla="*/ 275786 w 455398"/>
                <a:gd name="connsiteY99" fmla="*/ 156397 h 450157"/>
                <a:gd name="connsiteX100" fmla="*/ 250415 w 455398"/>
                <a:gd name="connsiteY100" fmla="*/ 130606 h 450157"/>
                <a:gd name="connsiteX101" fmla="*/ 275786 w 455398"/>
                <a:gd name="connsiteY101" fmla="*/ 104815 h 450157"/>
                <a:gd name="connsiteX102" fmla="*/ 181685 w 455398"/>
                <a:gd name="connsiteY102" fmla="*/ 78082 h 450157"/>
                <a:gd name="connsiteX103" fmla="*/ 219551 w 455398"/>
                <a:gd name="connsiteY103" fmla="*/ 78082 h 450157"/>
                <a:gd name="connsiteX104" fmla="*/ 222735 w 455398"/>
                <a:gd name="connsiteY104" fmla="*/ 95478 h 450157"/>
                <a:gd name="connsiteX105" fmla="*/ 225183 w 455398"/>
                <a:gd name="connsiteY105" fmla="*/ 97541 h 450157"/>
                <a:gd name="connsiteX106" fmla="*/ 240951 w 455398"/>
                <a:gd name="connsiteY106" fmla="*/ 97541 h 450157"/>
                <a:gd name="connsiteX107" fmla="*/ 243400 w 455398"/>
                <a:gd name="connsiteY107" fmla="*/ 95478 h 450157"/>
                <a:gd name="connsiteX108" fmla="*/ 246584 w 455398"/>
                <a:gd name="connsiteY108" fmla="*/ 78082 h 450157"/>
                <a:gd name="connsiteX109" fmla="*/ 284158 w 455398"/>
                <a:gd name="connsiteY109" fmla="*/ 78082 h 450157"/>
                <a:gd name="connsiteX110" fmla="*/ 284507 w 455398"/>
                <a:gd name="connsiteY110" fmla="*/ 78088 h 450157"/>
                <a:gd name="connsiteX111" fmla="*/ 294090 w 455398"/>
                <a:gd name="connsiteY111" fmla="*/ 88553 h 450157"/>
                <a:gd name="connsiteX112" fmla="*/ 293545 w 455398"/>
                <a:gd name="connsiteY112" fmla="*/ 103886 h 450157"/>
                <a:gd name="connsiteX113" fmla="*/ 275785 w 455398"/>
                <a:gd name="connsiteY113" fmla="*/ 98367 h 450157"/>
                <a:gd name="connsiteX114" fmla="*/ 275785 w 455398"/>
                <a:gd name="connsiteY114" fmla="*/ 98405 h 450157"/>
                <a:gd name="connsiteX115" fmla="*/ 259957 w 455398"/>
                <a:gd name="connsiteY115" fmla="*/ 102687 h 450157"/>
                <a:gd name="connsiteX116" fmla="*/ 248247 w 455398"/>
                <a:gd name="connsiteY116" fmla="*/ 146698 h 450157"/>
                <a:gd name="connsiteX117" fmla="*/ 291541 w 455398"/>
                <a:gd name="connsiteY117" fmla="*/ 158602 h 450157"/>
                <a:gd name="connsiteX118" fmla="*/ 291185 w 455398"/>
                <a:gd name="connsiteY118" fmla="*/ 168325 h 450157"/>
                <a:gd name="connsiteX119" fmla="*/ 284031 w 455398"/>
                <a:gd name="connsiteY119" fmla="*/ 168325 h 450157"/>
                <a:gd name="connsiteX120" fmla="*/ 283067 w 455398"/>
                <a:gd name="connsiteY120" fmla="*/ 173599 h 450157"/>
                <a:gd name="connsiteX121" fmla="*/ 280466 w 455398"/>
                <a:gd name="connsiteY121" fmla="*/ 187784 h 450157"/>
                <a:gd name="connsiteX122" fmla="*/ 271092 w 455398"/>
                <a:gd name="connsiteY122" fmla="*/ 187784 h 450157"/>
                <a:gd name="connsiteX123" fmla="*/ 268491 w 455398"/>
                <a:gd name="connsiteY123" fmla="*/ 173599 h 450157"/>
                <a:gd name="connsiteX124" fmla="*/ 267527 w 455398"/>
                <a:gd name="connsiteY124" fmla="*/ 168325 h 450157"/>
                <a:gd name="connsiteX125" fmla="*/ 224397 w 455398"/>
                <a:gd name="connsiteY125" fmla="*/ 168325 h 450157"/>
                <a:gd name="connsiteX126" fmla="*/ 223841 w 455398"/>
                <a:gd name="connsiteY126" fmla="*/ 168335 h 450157"/>
                <a:gd name="connsiteX127" fmla="*/ 208122 w 455398"/>
                <a:gd name="connsiteY127" fmla="*/ 185476 h 450157"/>
                <a:gd name="connsiteX128" fmla="*/ 209175 w 455398"/>
                <a:gd name="connsiteY128" fmla="*/ 214530 h 450157"/>
                <a:gd name="connsiteX129" fmla="*/ 209251 w 455398"/>
                <a:gd name="connsiteY129" fmla="*/ 216928 h 450157"/>
                <a:gd name="connsiteX130" fmla="*/ 196705 w 455398"/>
                <a:gd name="connsiteY130" fmla="*/ 216928 h 450157"/>
                <a:gd name="connsiteX131" fmla="*/ 177093 w 455398"/>
                <a:gd name="connsiteY131" fmla="*/ 216928 h 450157"/>
                <a:gd name="connsiteX132" fmla="*/ 176180 w 455398"/>
                <a:gd name="connsiteY132" fmla="*/ 221944 h 450157"/>
                <a:gd name="connsiteX133" fmla="*/ 173567 w 455398"/>
                <a:gd name="connsiteY133" fmla="*/ 236129 h 450157"/>
                <a:gd name="connsiteX134" fmla="*/ 164205 w 455398"/>
                <a:gd name="connsiteY134" fmla="*/ 236129 h 450157"/>
                <a:gd name="connsiteX135" fmla="*/ 161604 w 455398"/>
                <a:gd name="connsiteY135" fmla="*/ 221944 h 450157"/>
                <a:gd name="connsiteX136" fmla="*/ 160678 w 455398"/>
                <a:gd name="connsiteY136" fmla="*/ 216928 h 450157"/>
                <a:gd name="connsiteX137" fmla="*/ 141105 w 455398"/>
                <a:gd name="connsiteY137" fmla="*/ 216928 h 450157"/>
                <a:gd name="connsiteX138" fmla="*/ 127519 w 455398"/>
                <a:gd name="connsiteY138" fmla="*/ 216928 h 450157"/>
                <a:gd name="connsiteX139" fmla="*/ 127608 w 455398"/>
                <a:gd name="connsiteY139" fmla="*/ 214530 h 450157"/>
                <a:gd name="connsiteX140" fmla="*/ 128584 w 455398"/>
                <a:gd name="connsiteY140" fmla="*/ 185540 h 450157"/>
                <a:gd name="connsiteX141" fmla="*/ 128596 w 455398"/>
                <a:gd name="connsiteY141" fmla="*/ 184936 h 450157"/>
                <a:gd name="connsiteX142" fmla="*/ 112322 w 455398"/>
                <a:gd name="connsiteY142" fmla="*/ 168389 h 450157"/>
                <a:gd name="connsiteX143" fmla="*/ 69521 w 455398"/>
                <a:gd name="connsiteY143" fmla="*/ 168389 h 450157"/>
                <a:gd name="connsiteX144" fmla="*/ 68557 w 455398"/>
                <a:gd name="connsiteY144" fmla="*/ 173664 h 450157"/>
                <a:gd name="connsiteX145" fmla="*/ 65944 w 455398"/>
                <a:gd name="connsiteY145" fmla="*/ 187849 h 450157"/>
                <a:gd name="connsiteX146" fmla="*/ 56582 w 455398"/>
                <a:gd name="connsiteY146" fmla="*/ 187849 h 450157"/>
                <a:gd name="connsiteX147" fmla="*/ 54045 w 455398"/>
                <a:gd name="connsiteY147" fmla="*/ 173664 h 450157"/>
                <a:gd name="connsiteX148" fmla="*/ 53081 w 455398"/>
                <a:gd name="connsiteY148" fmla="*/ 168389 h 450157"/>
                <a:gd name="connsiteX149" fmla="*/ 46535 w 455398"/>
                <a:gd name="connsiteY149" fmla="*/ 168389 h 450157"/>
                <a:gd name="connsiteX150" fmla="*/ 46282 w 455398"/>
                <a:gd name="connsiteY150" fmla="*/ 161684 h 450157"/>
                <a:gd name="connsiteX151" fmla="*/ 75430 w 455398"/>
                <a:gd name="connsiteY151" fmla="*/ 160602 h 450157"/>
                <a:gd name="connsiteX152" fmla="*/ 87438 w 455398"/>
                <a:gd name="connsiteY152" fmla="*/ 116674 h 450157"/>
                <a:gd name="connsiteX153" fmla="*/ 44227 w 455398"/>
                <a:gd name="connsiteY153" fmla="*/ 104466 h 450157"/>
                <a:gd name="connsiteX154" fmla="*/ 43668 w 455398"/>
                <a:gd name="connsiteY154" fmla="*/ 88656 h 450157"/>
                <a:gd name="connsiteX155" fmla="*/ 43662 w 455398"/>
                <a:gd name="connsiteY155" fmla="*/ 88289 h 450157"/>
                <a:gd name="connsiteX156" fmla="*/ 53588 w 455398"/>
                <a:gd name="connsiteY156" fmla="*/ 78185 h 450157"/>
                <a:gd name="connsiteX157" fmla="*/ 91454 w 455398"/>
                <a:gd name="connsiteY157" fmla="*/ 78185 h 450157"/>
                <a:gd name="connsiteX158" fmla="*/ 94651 w 455398"/>
                <a:gd name="connsiteY158" fmla="*/ 95581 h 450157"/>
                <a:gd name="connsiteX159" fmla="*/ 97086 w 455398"/>
                <a:gd name="connsiteY159" fmla="*/ 97645 h 450157"/>
                <a:gd name="connsiteX160" fmla="*/ 112867 w 455398"/>
                <a:gd name="connsiteY160" fmla="*/ 97645 h 450157"/>
                <a:gd name="connsiteX161" fmla="*/ 115315 w 455398"/>
                <a:gd name="connsiteY161" fmla="*/ 95581 h 450157"/>
                <a:gd name="connsiteX162" fmla="*/ 118499 w 455398"/>
                <a:gd name="connsiteY162" fmla="*/ 78185 h 450157"/>
                <a:gd name="connsiteX163" fmla="*/ 156061 w 455398"/>
                <a:gd name="connsiteY163" fmla="*/ 78185 h 450157"/>
                <a:gd name="connsiteX164" fmla="*/ 156410 w 455398"/>
                <a:gd name="connsiteY164" fmla="*/ 78192 h 450157"/>
                <a:gd name="connsiteX165" fmla="*/ 165993 w 455398"/>
                <a:gd name="connsiteY165" fmla="*/ 88656 h 450157"/>
                <a:gd name="connsiteX166" fmla="*/ 164179 w 455398"/>
                <a:gd name="connsiteY166" fmla="*/ 139245 h 450157"/>
                <a:gd name="connsiteX167" fmla="*/ 140656 w 455398"/>
                <a:gd name="connsiteY167" fmla="*/ 156337 h 450157"/>
                <a:gd name="connsiteX168" fmla="*/ 154272 w 455398"/>
                <a:gd name="connsiteY168" fmla="*/ 199777 h 450157"/>
                <a:gd name="connsiteX169" fmla="*/ 185415 w 455398"/>
                <a:gd name="connsiteY169" fmla="*/ 198487 h 450157"/>
                <a:gd name="connsiteX170" fmla="*/ 200134 w 455398"/>
                <a:gd name="connsiteY170" fmla="*/ 175901 h 450157"/>
                <a:gd name="connsiteX171" fmla="*/ 173567 w 455398"/>
                <a:gd name="connsiteY171" fmla="*/ 139168 h 450157"/>
                <a:gd name="connsiteX172" fmla="*/ 171753 w 455398"/>
                <a:gd name="connsiteY172" fmla="*/ 88553 h 450157"/>
                <a:gd name="connsiteX173" fmla="*/ 171746 w 455398"/>
                <a:gd name="connsiteY173" fmla="*/ 88199 h 450157"/>
                <a:gd name="connsiteX174" fmla="*/ 181685 w 455398"/>
                <a:gd name="connsiteY174" fmla="*/ 78082 h 450157"/>
                <a:gd name="connsiteX175" fmla="*/ 232821 w 455398"/>
                <a:gd name="connsiteY175" fmla="*/ 0 h 450157"/>
                <a:gd name="connsiteX176" fmla="*/ 258192 w 455398"/>
                <a:gd name="connsiteY176" fmla="*/ 25791 h 450157"/>
                <a:gd name="connsiteX177" fmla="*/ 232821 w 455398"/>
                <a:gd name="connsiteY177" fmla="*/ 51582 h 450157"/>
                <a:gd name="connsiteX178" fmla="*/ 207450 w 455398"/>
                <a:gd name="connsiteY178" fmla="*/ 25791 h 450157"/>
                <a:gd name="connsiteX179" fmla="*/ 232821 w 455398"/>
                <a:gd name="connsiteY179" fmla="*/ 0 h 450157"/>
                <a:gd name="connsiteX180" fmla="*/ 104736 w 455398"/>
                <a:gd name="connsiteY180" fmla="*/ 0 h 450157"/>
                <a:gd name="connsiteX181" fmla="*/ 130107 w 455398"/>
                <a:gd name="connsiteY181" fmla="*/ 25791 h 450157"/>
                <a:gd name="connsiteX182" fmla="*/ 104736 w 455398"/>
                <a:gd name="connsiteY182" fmla="*/ 51582 h 450157"/>
                <a:gd name="connsiteX183" fmla="*/ 79365 w 455398"/>
                <a:gd name="connsiteY183" fmla="*/ 25791 h 450157"/>
                <a:gd name="connsiteX184" fmla="*/ 104736 w 455398"/>
                <a:gd name="connsiteY184" fmla="*/ 0 h 450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455398" h="450157">
                  <a:moveTo>
                    <a:pt x="245442" y="419117"/>
                  </a:moveTo>
                  <a:cubicBezTo>
                    <a:pt x="254598" y="429542"/>
                    <a:pt x="265282" y="438468"/>
                    <a:pt x="277117" y="445579"/>
                  </a:cubicBezTo>
                  <a:cubicBezTo>
                    <a:pt x="267260" y="447739"/>
                    <a:pt x="257277" y="449268"/>
                    <a:pt x="247231" y="450157"/>
                  </a:cubicBezTo>
                  <a:close/>
                  <a:moveTo>
                    <a:pt x="407701" y="286268"/>
                  </a:moveTo>
                  <a:lnTo>
                    <a:pt x="416670" y="295385"/>
                  </a:lnTo>
                  <a:lnTo>
                    <a:pt x="328050" y="385473"/>
                  </a:lnTo>
                  <a:lnTo>
                    <a:pt x="269126" y="325574"/>
                  </a:lnTo>
                  <a:lnTo>
                    <a:pt x="278095" y="316456"/>
                  </a:lnTo>
                  <a:lnTo>
                    <a:pt x="328050" y="367239"/>
                  </a:lnTo>
                  <a:close/>
                  <a:moveTo>
                    <a:pt x="117675" y="223337"/>
                  </a:moveTo>
                  <a:lnTo>
                    <a:pt x="155477" y="223337"/>
                  </a:lnTo>
                  <a:lnTo>
                    <a:pt x="158674" y="240720"/>
                  </a:lnTo>
                  <a:cubicBezTo>
                    <a:pt x="158906" y="241908"/>
                    <a:pt x="159919" y="242771"/>
                    <a:pt x="161110" y="242797"/>
                  </a:cubicBezTo>
                  <a:lnTo>
                    <a:pt x="176890" y="242797"/>
                  </a:lnTo>
                  <a:cubicBezTo>
                    <a:pt x="178085" y="242777"/>
                    <a:pt x="179105" y="241912"/>
                    <a:pt x="179339" y="240720"/>
                  </a:cubicBezTo>
                  <a:lnTo>
                    <a:pt x="182523" y="223337"/>
                  </a:lnTo>
                  <a:lnTo>
                    <a:pt x="220059" y="223337"/>
                  </a:lnTo>
                  <a:cubicBezTo>
                    <a:pt x="220201" y="223336"/>
                    <a:pt x="220343" y="223339"/>
                    <a:pt x="220485" y="223344"/>
                  </a:cubicBezTo>
                  <a:cubicBezTo>
                    <a:pt x="225966" y="223550"/>
                    <a:pt x="230245" y="228236"/>
                    <a:pt x="230042" y="233809"/>
                  </a:cubicBezTo>
                  <a:lnTo>
                    <a:pt x="229027" y="262101"/>
                  </a:lnTo>
                  <a:cubicBezTo>
                    <a:pt x="213828" y="289230"/>
                    <a:pt x="208334" y="320869"/>
                    <a:pt x="213475" y="351648"/>
                  </a:cubicBezTo>
                  <a:cubicBezTo>
                    <a:pt x="212019" y="352046"/>
                    <a:pt x="210518" y="352250"/>
                    <a:pt x="209010" y="352254"/>
                  </a:cubicBezTo>
                  <a:lnTo>
                    <a:pt x="208325" y="352254"/>
                  </a:lnTo>
                  <a:cubicBezTo>
                    <a:pt x="207004" y="352249"/>
                    <a:pt x="205901" y="353275"/>
                    <a:pt x="205788" y="354614"/>
                  </a:cubicBezTo>
                  <a:lnTo>
                    <a:pt x="199724" y="449615"/>
                  </a:lnTo>
                  <a:cubicBezTo>
                    <a:pt x="178457" y="447259"/>
                    <a:pt x="157598" y="442011"/>
                    <a:pt x="137705" y="434011"/>
                  </a:cubicBezTo>
                  <a:lnTo>
                    <a:pt x="132174" y="354601"/>
                  </a:lnTo>
                  <a:cubicBezTo>
                    <a:pt x="132056" y="353267"/>
                    <a:pt x="130954" y="352249"/>
                    <a:pt x="129637" y="352254"/>
                  </a:cubicBezTo>
                  <a:lnTo>
                    <a:pt x="128711" y="352254"/>
                  </a:lnTo>
                  <a:cubicBezTo>
                    <a:pt x="119351" y="352260"/>
                    <a:pt x="111667" y="344728"/>
                    <a:pt x="111332" y="335219"/>
                  </a:cubicBezTo>
                  <a:lnTo>
                    <a:pt x="107742" y="233809"/>
                  </a:lnTo>
                  <a:cubicBezTo>
                    <a:pt x="107739" y="233690"/>
                    <a:pt x="107736" y="233573"/>
                    <a:pt x="107736" y="233454"/>
                  </a:cubicBezTo>
                  <a:cubicBezTo>
                    <a:pt x="107732" y="227870"/>
                    <a:pt x="112182" y="223341"/>
                    <a:pt x="117675" y="223337"/>
                  </a:cubicBezTo>
                  <a:close/>
                  <a:moveTo>
                    <a:pt x="344744" y="206483"/>
                  </a:moveTo>
                  <a:cubicBezTo>
                    <a:pt x="392833" y="206471"/>
                    <a:pt x="436325" y="235525"/>
                    <a:pt x="455398" y="280400"/>
                  </a:cubicBezTo>
                  <a:cubicBezTo>
                    <a:pt x="453385" y="286899"/>
                    <a:pt x="451111" y="293270"/>
                    <a:pt x="448574" y="299511"/>
                  </a:cubicBezTo>
                  <a:cubicBezTo>
                    <a:pt x="438576" y="263074"/>
                    <a:pt x="410803" y="234451"/>
                    <a:pt x="375100" y="223790"/>
                  </a:cubicBezTo>
                  <a:cubicBezTo>
                    <a:pt x="317962" y="206729"/>
                    <a:pt x="258039" y="239984"/>
                    <a:pt x="241256" y="298068"/>
                  </a:cubicBezTo>
                  <a:cubicBezTo>
                    <a:pt x="224474" y="356151"/>
                    <a:pt x="257188" y="417067"/>
                    <a:pt x="314324" y="434128"/>
                  </a:cubicBezTo>
                  <a:cubicBezTo>
                    <a:pt x="308143" y="436604"/>
                    <a:pt x="301833" y="438822"/>
                    <a:pt x="295398" y="440782"/>
                  </a:cubicBezTo>
                  <a:cubicBezTo>
                    <a:pt x="252047" y="421028"/>
                    <a:pt x="224156" y="377229"/>
                    <a:pt x="224178" y="328935"/>
                  </a:cubicBezTo>
                  <a:cubicBezTo>
                    <a:pt x="224208" y="261276"/>
                    <a:pt x="278187" y="206452"/>
                    <a:pt x="344744" y="206483"/>
                  </a:cubicBezTo>
                  <a:close/>
                  <a:moveTo>
                    <a:pt x="224397" y="174734"/>
                  </a:moveTo>
                  <a:lnTo>
                    <a:pt x="262288" y="174734"/>
                  </a:lnTo>
                  <a:lnTo>
                    <a:pt x="265447" y="192169"/>
                  </a:lnTo>
                  <a:cubicBezTo>
                    <a:pt x="265685" y="193355"/>
                    <a:pt x="266704" y="194214"/>
                    <a:pt x="267895" y="194232"/>
                  </a:cubicBezTo>
                  <a:lnTo>
                    <a:pt x="283663" y="194232"/>
                  </a:lnTo>
                  <a:cubicBezTo>
                    <a:pt x="284854" y="194214"/>
                    <a:pt x="285873" y="193355"/>
                    <a:pt x="286111" y="192169"/>
                  </a:cubicBezTo>
                  <a:lnTo>
                    <a:pt x="289295" y="174773"/>
                  </a:lnTo>
                  <a:lnTo>
                    <a:pt x="326831" y="174773"/>
                  </a:lnTo>
                  <a:cubicBezTo>
                    <a:pt x="326948" y="174773"/>
                    <a:pt x="327064" y="174775"/>
                    <a:pt x="327180" y="174779"/>
                  </a:cubicBezTo>
                  <a:cubicBezTo>
                    <a:pt x="332669" y="174979"/>
                    <a:pt x="336961" y="179664"/>
                    <a:pt x="336764" y="185244"/>
                  </a:cubicBezTo>
                  <a:lnTo>
                    <a:pt x="336460" y="193897"/>
                  </a:lnTo>
                  <a:cubicBezTo>
                    <a:pt x="297653" y="196353"/>
                    <a:pt x="261842" y="215938"/>
                    <a:pt x="238440" y="247503"/>
                  </a:cubicBezTo>
                  <a:lnTo>
                    <a:pt x="238922" y="234131"/>
                  </a:lnTo>
                  <a:cubicBezTo>
                    <a:pt x="238931" y="233899"/>
                    <a:pt x="238934" y="233667"/>
                    <a:pt x="238934" y="233434"/>
                  </a:cubicBezTo>
                  <a:cubicBezTo>
                    <a:pt x="238934" y="222837"/>
                    <a:pt x="230483" y="214246"/>
                    <a:pt x="220059" y="214246"/>
                  </a:cubicBezTo>
                  <a:lnTo>
                    <a:pt x="215505" y="214246"/>
                  </a:lnTo>
                  <a:lnTo>
                    <a:pt x="214464" y="185205"/>
                  </a:lnTo>
                  <a:cubicBezTo>
                    <a:pt x="214461" y="185087"/>
                    <a:pt x="214458" y="184969"/>
                    <a:pt x="214458" y="184851"/>
                  </a:cubicBezTo>
                  <a:cubicBezTo>
                    <a:pt x="214454" y="179267"/>
                    <a:pt x="218904" y="174738"/>
                    <a:pt x="224397" y="174734"/>
                  </a:cubicBezTo>
                  <a:close/>
                  <a:moveTo>
                    <a:pt x="9939" y="174734"/>
                  </a:moveTo>
                  <a:lnTo>
                    <a:pt x="47804" y="174734"/>
                  </a:lnTo>
                  <a:lnTo>
                    <a:pt x="51001" y="192130"/>
                  </a:lnTo>
                  <a:cubicBezTo>
                    <a:pt x="51238" y="193313"/>
                    <a:pt x="52251" y="194169"/>
                    <a:pt x="53437" y="194194"/>
                  </a:cubicBezTo>
                  <a:lnTo>
                    <a:pt x="69217" y="194194"/>
                  </a:lnTo>
                  <a:cubicBezTo>
                    <a:pt x="70408" y="194176"/>
                    <a:pt x="71427" y="193317"/>
                    <a:pt x="71666" y="192130"/>
                  </a:cubicBezTo>
                  <a:lnTo>
                    <a:pt x="74850" y="174734"/>
                  </a:lnTo>
                  <a:lnTo>
                    <a:pt x="112386" y="174734"/>
                  </a:lnTo>
                  <a:cubicBezTo>
                    <a:pt x="112523" y="174733"/>
                    <a:pt x="112661" y="174736"/>
                    <a:pt x="112798" y="174741"/>
                  </a:cubicBezTo>
                  <a:cubicBezTo>
                    <a:pt x="118287" y="174941"/>
                    <a:pt x="122578" y="179626"/>
                    <a:pt x="122382" y="185205"/>
                  </a:cubicBezTo>
                  <a:lnTo>
                    <a:pt x="121329" y="214246"/>
                  </a:lnTo>
                  <a:lnTo>
                    <a:pt x="117675" y="214246"/>
                  </a:lnTo>
                  <a:cubicBezTo>
                    <a:pt x="117395" y="214245"/>
                    <a:pt x="117115" y="214250"/>
                    <a:pt x="116834" y="214262"/>
                  </a:cubicBezTo>
                  <a:cubicBezTo>
                    <a:pt x="106432" y="214696"/>
                    <a:pt x="98347" y="223621"/>
                    <a:pt x="98774" y="234196"/>
                  </a:cubicBezTo>
                  <a:lnTo>
                    <a:pt x="101311" y="303728"/>
                  </a:lnTo>
                  <a:lnTo>
                    <a:pt x="100601" y="303728"/>
                  </a:lnTo>
                  <a:cubicBezTo>
                    <a:pt x="99280" y="303723"/>
                    <a:pt x="98177" y="304750"/>
                    <a:pt x="98064" y="306088"/>
                  </a:cubicBezTo>
                  <a:lnTo>
                    <a:pt x="91480" y="409252"/>
                  </a:lnTo>
                  <a:cubicBezTo>
                    <a:pt x="66145" y="391763"/>
                    <a:pt x="44307" y="369542"/>
                    <a:pt x="27127" y="343769"/>
                  </a:cubicBezTo>
                  <a:lnTo>
                    <a:pt x="24501" y="306011"/>
                  </a:lnTo>
                  <a:cubicBezTo>
                    <a:pt x="24383" y="304677"/>
                    <a:pt x="23281" y="303659"/>
                    <a:pt x="21964" y="303664"/>
                  </a:cubicBezTo>
                  <a:lnTo>
                    <a:pt x="21038" y="303664"/>
                  </a:lnTo>
                  <a:cubicBezTo>
                    <a:pt x="11680" y="303664"/>
                    <a:pt x="4000" y="296135"/>
                    <a:pt x="3659" y="286629"/>
                  </a:cubicBezTo>
                  <a:lnTo>
                    <a:pt x="6" y="185205"/>
                  </a:lnTo>
                  <a:cubicBezTo>
                    <a:pt x="2" y="185096"/>
                    <a:pt x="0" y="184986"/>
                    <a:pt x="0" y="184877"/>
                  </a:cubicBezTo>
                  <a:cubicBezTo>
                    <a:pt x="-11" y="179286"/>
                    <a:pt x="4439" y="174745"/>
                    <a:pt x="9939" y="174734"/>
                  </a:cubicBezTo>
                  <a:close/>
                  <a:moveTo>
                    <a:pt x="168760" y="145242"/>
                  </a:moveTo>
                  <a:cubicBezTo>
                    <a:pt x="182772" y="145242"/>
                    <a:pt x="194131" y="156789"/>
                    <a:pt x="194131" y="171033"/>
                  </a:cubicBezTo>
                  <a:cubicBezTo>
                    <a:pt x="194131" y="185277"/>
                    <a:pt x="182772" y="196824"/>
                    <a:pt x="168760" y="196824"/>
                  </a:cubicBezTo>
                  <a:cubicBezTo>
                    <a:pt x="154748" y="196824"/>
                    <a:pt x="143389" y="185277"/>
                    <a:pt x="143389" y="171033"/>
                  </a:cubicBezTo>
                  <a:cubicBezTo>
                    <a:pt x="143389" y="156789"/>
                    <a:pt x="154748" y="145242"/>
                    <a:pt x="168760" y="145242"/>
                  </a:cubicBezTo>
                  <a:close/>
                  <a:moveTo>
                    <a:pt x="59817" y="106633"/>
                  </a:moveTo>
                  <a:cubicBezTo>
                    <a:pt x="73829" y="106633"/>
                    <a:pt x="85188" y="118180"/>
                    <a:pt x="85188" y="132424"/>
                  </a:cubicBezTo>
                  <a:cubicBezTo>
                    <a:pt x="85188" y="146668"/>
                    <a:pt x="73829" y="158215"/>
                    <a:pt x="59817" y="158215"/>
                  </a:cubicBezTo>
                  <a:cubicBezTo>
                    <a:pt x="45805" y="158215"/>
                    <a:pt x="34446" y="146668"/>
                    <a:pt x="34446" y="132424"/>
                  </a:cubicBezTo>
                  <a:cubicBezTo>
                    <a:pt x="34446" y="118180"/>
                    <a:pt x="45805" y="106633"/>
                    <a:pt x="59817" y="106633"/>
                  </a:cubicBezTo>
                  <a:close/>
                  <a:moveTo>
                    <a:pt x="275786" y="104815"/>
                  </a:moveTo>
                  <a:cubicBezTo>
                    <a:pt x="289798" y="104815"/>
                    <a:pt x="301157" y="116362"/>
                    <a:pt x="301157" y="130606"/>
                  </a:cubicBezTo>
                  <a:cubicBezTo>
                    <a:pt x="301157" y="144850"/>
                    <a:pt x="289798" y="156397"/>
                    <a:pt x="275786" y="156397"/>
                  </a:cubicBezTo>
                  <a:cubicBezTo>
                    <a:pt x="261774" y="156397"/>
                    <a:pt x="250415" y="144850"/>
                    <a:pt x="250415" y="130606"/>
                  </a:cubicBezTo>
                  <a:cubicBezTo>
                    <a:pt x="250415" y="116362"/>
                    <a:pt x="261774" y="104815"/>
                    <a:pt x="275786" y="104815"/>
                  </a:cubicBezTo>
                  <a:close/>
                  <a:moveTo>
                    <a:pt x="181685" y="78082"/>
                  </a:moveTo>
                  <a:lnTo>
                    <a:pt x="219551" y="78082"/>
                  </a:lnTo>
                  <a:lnTo>
                    <a:pt x="222735" y="95478"/>
                  </a:lnTo>
                  <a:cubicBezTo>
                    <a:pt x="222974" y="96664"/>
                    <a:pt x="223992" y="97523"/>
                    <a:pt x="225183" y="97541"/>
                  </a:cubicBezTo>
                  <a:lnTo>
                    <a:pt x="240951" y="97541"/>
                  </a:lnTo>
                  <a:cubicBezTo>
                    <a:pt x="242143" y="97523"/>
                    <a:pt x="243161" y="96664"/>
                    <a:pt x="243400" y="95478"/>
                  </a:cubicBezTo>
                  <a:lnTo>
                    <a:pt x="246584" y="78082"/>
                  </a:lnTo>
                  <a:lnTo>
                    <a:pt x="284158" y="78082"/>
                  </a:lnTo>
                  <a:cubicBezTo>
                    <a:pt x="284274" y="78082"/>
                    <a:pt x="284390" y="78085"/>
                    <a:pt x="284507" y="78088"/>
                  </a:cubicBezTo>
                  <a:cubicBezTo>
                    <a:pt x="289996" y="78288"/>
                    <a:pt x="294287" y="82973"/>
                    <a:pt x="294090" y="88553"/>
                  </a:cubicBezTo>
                  <a:lnTo>
                    <a:pt x="293545" y="103886"/>
                  </a:lnTo>
                  <a:cubicBezTo>
                    <a:pt x="288305" y="100275"/>
                    <a:pt x="282117" y="98352"/>
                    <a:pt x="275785" y="98367"/>
                  </a:cubicBezTo>
                  <a:lnTo>
                    <a:pt x="275785" y="98405"/>
                  </a:lnTo>
                  <a:cubicBezTo>
                    <a:pt x="270232" y="98399"/>
                    <a:pt x="264773" y="99875"/>
                    <a:pt x="259957" y="102687"/>
                  </a:cubicBezTo>
                  <a:cubicBezTo>
                    <a:pt x="244768" y="111552"/>
                    <a:pt x="239526" y="131257"/>
                    <a:pt x="248247" y="146698"/>
                  </a:cubicBezTo>
                  <a:cubicBezTo>
                    <a:pt x="256968" y="162138"/>
                    <a:pt x="276351" y="167467"/>
                    <a:pt x="291541" y="158602"/>
                  </a:cubicBezTo>
                  <a:lnTo>
                    <a:pt x="291185" y="168325"/>
                  </a:lnTo>
                  <a:lnTo>
                    <a:pt x="284031" y="168325"/>
                  </a:lnTo>
                  <a:lnTo>
                    <a:pt x="283067" y="173599"/>
                  </a:lnTo>
                  <a:lnTo>
                    <a:pt x="280466" y="187784"/>
                  </a:lnTo>
                  <a:lnTo>
                    <a:pt x="271092" y="187784"/>
                  </a:lnTo>
                  <a:lnTo>
                    <a:pt x="268491" y="173599"/>
                  </a:lnTo>
                  <a:lnTo>
                    <a:pt x="267527" y="168325"/>
                  </a:lnTo>
                  <a:lnTo>
                    <a:pt x="224397" y="168325"/>
                  </a:lnTo>
                  <a:cubicBezTo>
                    <a:pt x="224212" y="168325"/>
                    <a:pt x="224027" y="168329"/>
                    <a:pt x="223841" y="168335"/>
                  </a:cubicBezTo>
                  <a:cubicBezTo>
                    <a:pt x="214845" y="168655"/>
                    <a:pt x="207806" y="176330"/>
                    <a:pt x="208122" y="185476"/>
                  </a:cubicBezTo>
                  <a:lnTo>
                    <a:pt x="209175" y="214530"/>
                  </a:lnTo>
                  <a:lnTo>
                    <a:pt x="209251" y="216928"/>
                  </a:lnTo>
                  <a:lnTo>
                    <a:pt x="196705" y="216928"/>
                  </a:lnTo>
                  <a:lnTo>
                    <a:pt x="177093" y="216928"/>
                  </a:lnTo>
                  <a:lnTo>
                    <a:pt x="176180" y="221944"/>
                  </a:lnTo>
                  <a:lnTo>
                    <a:pt x="173567" y="236129"/>
                  </a:lnTo>
                  <a:lnTo>
                    <a:pt x="164205" y="236129"/>
                  </a:lnTo>
                  <a:lnTo>
                    <a:pt x="161604" y="221944"/>
                  </a:lnTo>
                  <a:lnTo>
                    <a:pt x="160678" y="216928"/>
                  </a:lnTo>
                  <a:lnTo>
                    <a:pt x="141105" y="216928"/>
                  </a:lnTo>
                  <a:lnTo>
                    <a:pt x="127519" y="216928"/>
                  </a:lnTo>
                  <a:lnTo>
                    <a:pt x="127608" y="214530"/>
                  </a:lnTo>
                  <a:lnTo>
                    <a:pt x="128584" y="185540"/>
                  </a:lnTo>
                  <a:cubicBezTo>
                    <a:pt x="128592" y="185339"/>
                    <a:pt x="128596" y="185138"/>
                    <a:pt x="128596" y="184936"/>
                  </a:cubicBezTo>
                  <a:cubicBezTo>
                    <a:pt x="128596" y="175799"/>
                    <a:pt x="121310" y="168391"/>
                    <a:pt x="112322" y="168389"/>
                  </a:cubicBezTo>
                  <a:lnTo>
                    <a:pt x="69521" y="168389"/>
                  </a:lnTo>
                  <a:lnTo>
                    <a:pt x="68557" y="173664"/>
                  </a:lnTo>
                  <a:lnTo>
                    <a:pt x="65944" y="187849"/>
                  </a:lnTo>
                  <a:lnTo>
                    <a:pt x="56582" y="187849"/>
                  </a:lnTo>
                  <a:lnTo>
                    <a:pt x="54045" y="173664"/>
                  </a:lnTo>
                  <a:lnTo>
                    <a:pt x="53081" y="168389"/>
                  </a:lnTo>
                  <a:lnTo>
                    <a:pt x="46535" y="168389"/>
                  </a:lnTo>
                  <a:lnTo>
                    <a:pt x="46282" y="161684"/>
                  </a:lnTo>
                  <a:cubicBezTo>
                    <a:pt x="55594" y="166156"/>
                    <a:pt x="66463" y="165752"/>
                    <a:pt x="75430" y="160602"/>
                  </a:cubicBezTo>
                  <a:cubicBezTo>
                    <a:pt x="90678" y="151843"/>
                    <a:pt x="96055" y="132175"/>
                    <a:pt x="87438" y="116674"/>
                  </a:cubicBezTo>
                  <a:cubicBezTo>
                    <a:pt x="78822" y="101173"/>
                    <a:pt x="59476" y="95708"/>
                    <a:pt x="44227" y="104466"/>
                  </a:cubicBezTo>
                  <a:lnTo>
                    <a:pt x="43668" y="88656"/>
                  </a:lnTo>
                  <a:cubicBezTo>
                    <a:pt x="43663" y="88534"/>
                    <a:pt x="43662" y="88411"/>
                    <a:pt x="43662" y="88289"/>
                  </a:cubicBezTo>
                  <a:cubicBezTo>
                    <a:pt x="43658" y="82711"/>
                    <a:pt x="48103" y="78189"/>
                    <a:pt x="53588" y="78185"/>
                  </a:cubicBezTo>
                  <a:lnTo>
                    <a:pt x="91454" y="78185"/>
                  </a:lnTo>
                  <a:lnTo>
                    <a:pt x="94651" y="95581"/>
                  </a:lnTo>
                  <a:cubicBezTo>
                    <a:pt x="94888" y="96764"/>
                    <a:pt x="95900" y="97620"/>
                    <a:pt x="97086" y="97645"/>
                  </a:cubicBezTo>
                  <a:lnTo>
                    <a:pt x="112867" y="97645"/>
                  </a:lnTo>
                  <a:cubicBezTo>
                    <a:pt x="114058" y="97626"/>
                    <a:pt x="115077" y="96768"/>
                    <a:pt x="115315" y="95581"/>
                  </a:cubicBezTo>
                  <a:lnTo>
                    <a:pt x="118499" y="78185"/>
                  </a:lnTo>
                  <a:lnTo>
                    <a:pt x="156061" y="78185"/>
                  </a:lnTo>
                  <a:cubicBezTo>
                    <a:pt x="156178" y="78185"/>
                    <a:pt x="156293" y="78188"/>
                    <a:pt x="156410" y="78192"/>
                  </a:cubicBezTo>
                  <a:cubicBezTo>
                    <a:pt x="161899" y="78391"/>
                    <a:pt x="166190" y="83076"/>
                    <a:pt x="165993" y="88656"/>
                  </a:cubicBezTo>
                  <a:lnTo>
                    <a:pt x="164179" y="139245"/>
                  </a:lnTo>
                  <a:cubicBezTo>
                    <a:pt x="154091" y="140766"/>
                    <a:pt x="145338" y="147126"/>
                    <a:pt x="140656" y="156337"/>
                  </a:cubicBezTo>
                  <a:cubicBezTo>
                    <a:pt x="132616" y="172155"/>
                    <a:pt x="138712" y="191604"/>
                    <a:pt x="154272" y="199777"/>
                  </a:cubicBezTo>
                  <a:cubicBezTo>
                    <a:pt x="164145" y="204986"/>
                    <a:pt x="175992" y="204495"/>
                    <a:pt x="185415" y="198487"/>
                  </a:cubicBezTo>
                  <a:cubicBezTo>
                    <a:pt x="193346" y="193521"/>
                    <a:pt x="198728" y="185262"/>
                    <a:pt x="200134" y="175901"/>
                  </a:cubicBezTo>
                  <a:cubicBezTo>
                    <a:pt x="202776" y="158300"/>
                    <a:pt x="190881" y="141854"/>
                    <a:pt x="173567" y="139168"/>
                  </a:cubicBezTo>
                  <a:lnTo>
                    <a:pt x="171753" y="88553"/>
                  </a:lnTo>
                  <a:cubicBezTo>
                    <a:pt x="171749" y="88435"/>
                    <a:pt x="171746" y="88317"/>
                    <a:pt x="171746" y="88199"/>
                  </a:cubicBezTo>
                  <a:cubicBezTo>
                    <a:pt x="171742" y="82615"/>
                    <a:pt x="176193" y="78086"/>
                    <a:pt x="181685" y="78082"/>
                  </a:cubicBezTo>
                  <a:close/>
                  <a:moveTo>
                    <a:pt x="232821" y="0"/>
                  </a:moveTo>
                  <a:cubicBezTo>
                    <a:pt x="246833" y="0"/>
                    <a:pt x="258192" y="11547"/>
                    <a:pt x="258192" y="25791"/>
                  </a:cubicBezTo>
                  <a:cubicBezTo>
                    <a:pt x="258192" y="40035"/>
                    <a:pt x="246833" y="51582"/>
                    <a:pt x="232821" y="51582"/>
                  </a:cubicBezTo>
                  <a:cubicBezTo>
                    <a:pt x="218809" y="51582"/>
                    <a:pt x="207450" y="40035"/>
                    <a:pt x="207450" y="25791"/>
                  </a:cubicBezTo>
                  <a:cubicBezTo>
                    <a:pt x="207450" y="11547"/>
                    <a:pt x="218809" y="0"/>
                    <a:pt x="232821" y="0"/>
                  </a:cubicBezTo>
                  <a:close/>
                  <a:moveTo>
                    <a:pt x="104736" y="0"/>
                  </a:moveTo>
                  <a:cubicBezTo>
                    <a:pt x="118748" y="0"/>
                    <a:pt x="130107" y="11547"/>
                    <a:pt x="130107" y="25791"/>
                  </a:cubicBezTo>
                  <a:cubicBezTo>
                    <a:pt x="130107" y="40035"/>
                    <a:pt x="118748" y="51582"/>
                    <a:pt x="104736" y="51582"/>
                  </a:cubicBezTo>
                  <a:cubicBezTo>
                    <a:pt x="90724" y="51582"/>
                    <a:pt x="79365" y="40035"/>
                    <a:pt x="79365" y="25791"/>
                  </a:cubicBezTo>
                  <a:cubicBezTo>
                    <a:pt x="79365" y="11547"/>
                    <a:pt x="90724" y="0"/>
                    <a:pt x="104736" y="0"/>
                  </a:cubicBezTo>
                  <a:close/>
                </a:path>
              </a:pathLst>
            </a:custGeom>
            <a:solidFill>
              <a:srgbClr val="025EA1"/>
            </a:solidFill>
            <a:ln w="1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08" name="Группа 107">
            <a:extLst>
              <a:ext uri="{FF2B5EF4-FFF2-40B4-BE49-F238E27FC236}">
                <a16:creationId xmlns:a16="http://schemas.microsoft.com/office/drawing/2014/main" id="{ECDF05B5-124B-4C60-0AF4-CFA97DB5DF41}"/>
              </a:ext>
            </a:extLst>
          </p:cNvPr>
          <p:cNvGrpSpPr/>
          <p:nvPr/>
        </p:nvGrpSpPr>
        <p:grpSpPr>
          <a:xfrm>
            <a:off x="11124167" y="4824230"/>
            <a:ext cx="543316" cy="534459"/>
            <a:chOff x="4798123" y="1989844"/>
            <a:chExt cx="719999" cy="720000"/>
          </a:xfrm>
        </p:grpSpPr>
        <p:pic>
          <p:nvPicPr>
            <p:cNvPr id="109" name="Рисунок 108">
              <a:extLst>
                <a:ext uri="{FF2B5EF4-FFF2-40B4-BE49-F238E27FC236}">
                  <a16:creationId xmlns:a16="http://schemas.microsoft.com/office/drawing/2014/main" id="{00BA89A7-50F5-4591-C369-C04C2AA4196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/>
            <a:stretch/>
          </p:blipFill>
          <p:spPr>
            <a:xfrm>
              <a:off x="4798123" y="1989844"/>
              <a:ext cx="719999" cy="720000"/>
            </a:xfrm>
            <a:prstGeom prst="rect">
              <a:avLst/>
            </a:prstGeom>
          </p:spPr>
        </p:pic>
        <p:sp>
          <p:nvSpPr>
            <p:cNvPr id="110" name="Полилиния 81">
              <a:extLst>
                <a:ext uri="{FF2B5EF4-FFF2-40B4-BE49-F238E27FC236}">
                  <a16:creationId xmlns:a16="http://schemas.microsoft.com/office/drawing/2014/main" id="{D04A0D91-A18B-8513-74E8-EBAB67315358}"/>
                </a:ext>
              </a:extLst>
            </p:cNvPr>
            <p:cNvSpPr/>
            <p:nvPr/>
          </p:nvSpPr>
          <p:spPr>
            <a:xfrm>
              <a:off x="4920412" y="2107271"/>
              <a:ext cx="475355" cy="469752"/>
            </a:xfrm>
            <a:custGeom>
              <a:avLst/>
              <a:gdLst>
                <a:gd name="connsiteX0" fmla="*/ 57275 w 475355"/>
                <a:gd name="connsiteY0" fmla="*/ 288557 h 469752"/>
                <a:gd name="connsiteX1" fmla="*/ 68339 w 475355"/>
                <a:gd name="connsiteY1" fmla="*/ 294940 h 469752"/>
                <a:gd name="connsiteX2" fmla="*/ 77366 w 475355"/>
                <a:gd name="connsiteY2" fmla="*/ 312298 h 469752"/>
                <a:gd name="connsiteX3" fmla="*/ 71602 w 475355"/>
                <a:gd name="connsiteY3" fmla="*/ 311924 h 469752"/>
                <a:gd name="connsiteX4" fmla="*/ 69371 w 475355"/>
                <a:gd name="connsiteY4" fmla="*/ 311924 h 469752"/>
                <a:gd name="connsiteX5" fmla="*/ 68004 w 475355"/>
                <a:gd name="connsiteY5" fmla="*/ 311924 h 469752"/>
                <a:gd name="connsiteX6" fmla="*/ 418053 w 475355"/>
                <a:gd name="connsiteY6" fmla="*/ 288376 h 469752"/>
                <a:gd name="connsiteX7" fmla="*/ 407311 w 475355"/>
                <a:gd name="connsiteY7" fmla="*/ 311743 h 469752"/>
                <a:gd name="connsiteX8" fmla="*/ 403198 w 475355"/>
                <a:gd name="connsiteY8" fmla="*/ 311369 h 469752"/>
                <a:gd name="connsiteX9" fmla="*/ 397614 w 475355"/>
                <a:gd name="connsiteY9" fmla="*/ 312091 h 469752"/>
                <a:gd name="connsiteX10" fmla="*/ 406641 w 475355"/>
                <a:gd name="connsiteY10" fmla="*/ 294721 h 469752"/>
                <a:gd name="connsiteX11" fmla="*/ 418053 w 475355"/>
                <a:gd name="connsiteY11" fmla="*/ 288376 h 469752"/>
                <a:gd name="connsiteX12" fmla="*/ 438854 w 475355"/>
                <a:gd name="connsiteY12" fmla="*/ 278808 h 469752"/>
                <a:gd name="connsiteX13" fmla="*/ 439950 w 475355"/>
                <a:gd name="connsiteY13" fmla="*/ 278808 h 469752"/>
                <a:gd name="connsiteX14" fmla="*/ 431568 w 475355"/>
                <a:gd name="connsiteY14" fmla="*/ 299182 h 469752"/>
                <a:gd name="connsiteX15" fmla="*/ 422116 w 475355"/>
                <a:gd name="connsiteY15" fmla="*/ 322394 h 469752"/>
                <a:gd name="connsiteX16" fmla="*/ 414056 w 475355"/>
                <a:gd name="connsiteY16" fmla="*/ 314296 h 469752"/>
                <a:gd name="connsiteX17" fmla="*/ 425378 w 475355"/>
                <a:gd name="connsiteY17" fmla="*/ 289653 h 469752"/>
                <a:gd name="connsiteX18" fmla="*/ 426668 w 475355"/>
                <a:gd name="connsiteY18" fmla="*/ 286712 h 469752"/>
                <a:gd name="connsiteX19" fmla="*/ 438854 w 475355"/>
                <a:gd name="connsiteY19" fmla="*/ 278808 h 469752"/>
                <a:gd name="connsiteX20" fmla="*/ 35443 w 475355"/>
                <a:gd name="connsiteY20" fmla="*/ 278756 h 469752"/>
                <a:gd name="connsiteX21" fmla="*/ 36539 w 475355"/>
                <a:gd name="connsiteY21" fmla="*/ 278756 h 469752"/>
                <a:gd name="connsiteX22" fmla="*/ 48816 w 475355"/>
                <a:gd name="connsiteY22" fmla="*/ 286661 h 469752"/>
                <a:gd name="connsiteX23" fmla="*/ 50105 w 475355"/>
                <a:gd name="connsiteY23" fmla="*/ 289602 h 469752"/>
                <a:gd name="connsiteX24" fmla="*/ 61402 w 475355"/>
                <a:gd name="connsiteY24" fmla="*/ 314245 h 469752"/>
                <a:gd name="connsiteX25" fmla="*/ 53226 w 475355"/>
                <a:gd name="connsiteY25" fmla="*/ 322395 h 469752"/>
                <a:gd name="connsiteX26" fmla="*/ 43774 w 475355"/>
                <a:gd name="connsiteY26" fmla="*/ 299183 h 469752"/>
                <a:gd name="connsiteX27" fmla="*/ 466979 w 475355"/>
                <a:gd name="connsiteY27" fmla="*/ 273482 h 469752"/>
                <a:gd name="connsiteX28" fmla="*/ 474394 w 475355"/>
                <a:gd name="connsiteY28" fmla="*/ 290826 h 469752"/>
                <a:gd name="connsiteX29" fmla="*/ 444037 w 475355"/>
                <a:gd name="connsiteY29" fmla="*/ 367954 h 469752"/>
                <a:gd name="connsiteX30" fmla="*/ 420826 w 475355"/>
                <a:gd name="connsiteY30" fmla="*/ 397730 h 469752"/>
                <a:gd name="connsiteX31" fmla="*/ 333910 w 475355"/>
                <a:gd name="connsiteY31" fmla="*/ 459758 h 469752"/>
                <a:gd name="connsiteX32" fmla="*/ 321956 w 475355"/>
                <a:gd name="connsiteY32" fmla="*/ 469004 h 469752"/>
                <a:gd name="connsiteX33" fmla="*/ 319983 w 475355"/>
                <a:gd name="connsiteY33" fmla="*/ 469752 h 469752"/>
                <a:gd name="connsiteX34" fmla="*/ 317403 w 475355"/>
                <a:gd name="connsiteY34" fmla="*/ 468462 h 469752"/>
                <a:gd name="connsiteX35" fmla="*/ 291122 w 475355"/>
                <a:gd name="connsiteY35" fmla="*/ 435217 h 469752"/>
                <a:gd name="connsiteX36" fmla="*/ 291110 w 475355"/>
                <a:gd name="connsiteY36" fmla="*/ 435202 h 469752"/>
                <a:gd name="connsiteX37" fmla="*/ 291664 w 475355"/>
                <a:gd name="connsiteY37" fmla="*/ 430640 h 469752"/>
                <a:gd name="connsiteX38" fmla="*/ 294798 w 475355"/>
                <a:gd name="connsiteY38" fmla="*/ 428151 h 469752"/>
                <a:gd name="connsiteX39" fmla="*/ 297531 w 475355"/>
                <a:gd name="connsiteY39" fmla="*/ 421819 h 469752"/>
                <a:gd name="connsiteX40" fmla="*/ 304482 w 475355"/>
                <a:gd name="connsiteY40" fmla="*/ 394738 h 469752"/>
                <a:gd name="connsiteX41" fmla="*/ 307306 w 475355"/>
                <a:gd name="connsiteY41" fmla="*/ 390173 h 469752"/>
                <a:gd name="connsiteX42" fmla="*/ 331227 w 475355"/>
                <a:gd name="connsiteY42" fmla="*/ 370830 h 469752"/>
                <a:gd name="connsiteX43" fmla="*/ 337327 w 475355"/>
                <a:gd name="connsiteY43" fmla="*/ 368393 h 469752"/>
                <a:gd name="connsiteX44" fmla="*/ 360242 w 475355"/>
                <a:gd name="connsiteY44" fmla="*/ 354401 h 469752"/>
                <a:gd name="connsiteX45" fmla="*/ 395060 w 475355"/>
                <a:gd name="connsiteY45" fmla="*/ 324161 h 469752"/>
                <a:gd name="connsiteX46" fmla="*/ 411880 w 475355"/>
                <a:gd name="connsiteY46" fmla="*/ 324825 h 469752"/>
                <a:gd name="connsiteX47" fmla="*/ 411528 w 475355"/>
                <a:gd name="connsiteY47" fmla="*/ 341983 h 469752"/>
                <a:gd name="connsiteX48" fmla="*/ 376710 w 475355"/>
                <a:gd name="connsiteY48" fmla="*/ 376169 h 469752"/>
                <a:gd name="connsiteX49" fmla="*/ 376645 w 475355"/>
                <a:gd name="connsiteY49" fmla="*/ 382681 h 469752"/>
                <a:gd name="connsiteX50" fmla="*/ 383158 w 475355"/>
                <a:gd name="connsiteY50" fmla="*/ 382746 h 469752"/>
                <a:gd name="connsiteX51" fmla="*/ 413604 w 475355"/>
                <a:gd name="connsiteY51" fmla="*/ 353331 h 469752"/>
                <a:gd name="connsiteX52" fmla="*/ 429852 w 475355"/>
                <a:gd name="connsiteY52" fmla="*/ 329345 h 469752"/>
                <a:gd name="connsiteX53" fmla="*/ 449634 w 475355"/>
                <a:gd name="connsiteY53" fmla="*/ 280897 h 469752"/>
                <a:gd name="connsiteX54" fmla="*/ 466979 w 475355"/>
                <a:gd name="connsiteY54" fmla="*/ 273482 h 469752"/>
                <a:gd name="connsiteX55" fmla="*/ 8376 w 475355"/>
                <a:gd name="connsiteY55" fmla="*/ 273482 h 469752"/>
                <a:gd name="connsiteX56" fmla="*/ 25720 w 475355"/>
                <a:gd name="connsiteY56" fmla="*/ 280897 h 469752"/>
                <a:gd name="connsiteX57" fmla="*/ 45567 w 475355"/>
                <a:gd name="connsiteY57" fmla="*/ 329345 h 469752"/>
                <a:gd name="connsiteX58" fmla="*/ 61712 w 475355"/>
                <a:gd name="connsiteY58" fmla="*/ 353331 h 469752"/>
                <a:gd name="connsiteX59" fmla="*/ 92223 w 475355"/>
                <a:gd name="connsiteY59" fmla="*/ 382746 h 469752"/>
                <a:gd name="connsiteX60" fmla="*/ 98703 w 475355"/>
                <a:gd name="connsiteY60" fmla="*/ 382649 h 469752"/>
                <a:gd name="connsiteX61" fmla="*/ 98606 w 475355"/>
                <a:gd name="connsiteY61" fmla="*/ 376169 h 469752"/>
                <a:gd name="connsiteX62" fmla="*/ 63788 w 475355"/>
                <a:gd name="connsiteY62" fmla="*/ 341983 h 469752"/>
                <a:gd name="connsiteX63" fmla="*/ 63124 w 475355"/>
                <a:gd name="connsiteY63" fmla="*/ 325163 h 469752"/>
                <a:gd name="connsiteX64" fmla="*/ 80256 w 475355"/>
                <a:gd name="connsiteY64" fmla="*/ 324161 h 469752"/>
                <a:gd name="connsiteX65" fmla="*/ 115061 w 475355"/>
                <a:gd name="connsiteY65" fmla="*/ 354401 h 469752"/>
                <a:gd name="connsiteX66" fmla="*/ 137976 w 475355"/>
                <a:gd name="connsiteY66" fmla="*/ 368393 h 469752"/>
                <a:gd name="connsiteX67" fmla="*/ 144075 w 475355"/>
                <a:gd name="connsiteY67" fmla="*/ 370830 h 469752"/>
                <a:gd name="connsiteX68" fmla="*/ 167997 w 475355"/>
                <a:gd name="connsiteY68" fmla="*/ 390173 h 469752"/>
                <a:gd name="connsiteX69" fmla="*/ 170988 w 475355"/>
                <a:gd name="connsiteY69" fmla="*/ 394661 h 469752"/>
                <a:gd name="connsiteX70" fmla="*/ 177939 w 475355"/>
                <a:gd name="connsiteY70" fmla="*/ 421742 h 469752"/>
                <a:gd name="connsiteX71" fmla="*/ 180673 w 475355"/>
                <a:gd name="connsiteY71" fmla="*/ 428073 h 469752"/>
                <a:gd name="connsiteX72" fmla="*/ 183807 w 475355"/>
                <a:gd name="connsiteY72" fmla="*/ 430562 h 469752"/>
                <a:gd name="connsiteX73" fmla="*/ 183822 w 475355"/>
                <a:gd name="connsiteY73" fmla="*/ 430575 h 469752"/>
                <a:gd name="connsiteX74" fmla="*/ 184348 w 475355"/>
                <a:gd name="connsiteY74" fmla="*/ 435140 h 469752"/>
                <a:gd name="connsiteX75" fmla="*/ 158067 w 475355"/>
                <a:gd name="connsiteY75" fmla="*/ 468385 h 469752"/>
                <a:gd name="connsiteX76" fmla="*/ 155488 w 475355"/>
                <a:gd name="connsiteY76" fmla="*/ 469674 h 469752"/>
                <a:gd name="connsiteX77" fmla="*/ 153489 w 475355"/>
                <a:gd name="connsiteY77" fmla="*/ 469004 h 469752"/>
                <a:gd name="connsiteX78" fmla="*/ 141535 w 475355"/>
                <a:gd name="connsiteY78" fmla="*/ 459758 h 469752"/>
                <a:gd name="connsiteX79" fmla="*/ 54593 w 475355"/>
                <a:gd name="connsiteY79" fmla="*/ 397730 h 469752"/>
                <a:gd name="connsiteX80" fmla="*/ 31382 w 475355"/>
                <a:gd name="connsiteY80" fmla="*/ 367954 h 469752"/>
                <a:gd name="connsiteX81" fmla="*/ 961 w 475355"/>
                <a:gd name="connsiteY81" fmla="*/ 290826 h 469752"/>
                <a:gd name="connsiteX82" fmla="*/ 8376 w 475355"/>
                <a:gd name="connsiteY82" fmla="*/ 273482 h 469752"/>
                <a:gd name="connsiteX83" fmla="*/ 118658 w 475355"/>
                <a:gd name="connsiteY83" fmla="*/ 255983 h 469752"/>
                <a:gd name="connsiteX84" fmla="*/ 119226 w 475355"/>
                <a:gd name="connsiteY84" fmla="*/ 256099 h 469752"/>
                <a:gd name="connsiteX85" fmla="*/ 136093 w 475355"/>
                <a:gd name="connsiteY85" fmla="*/ 259336 h 469752"/>
                <a:gd name="connsiteX86" fmla="*/ 203060 w 475355"/>
                <a:gd name="connsiteY86" fmla="*/ 282754 h 469752"/>
                <a:gd name="connsiteX87" fmla="*/ 198881 w 475355"/>
                <a:gd name="connsiteY87" fmla="*/ 296643 h 469752"/>
                <a:gd name="connsiteX88" fmla="*/ 197295 w 475355"/>
                <a:gd name="connsiteY88" fmla="*/ 306237 h 469752"/>
                <a:gd name="connsiteX89" fmla="*/ 196947 w 475355"/>
                <a:gd name="connsiteY89" fmla="*/ 312801 h 469752"/>
                <a:gd name="connsiteX90" fmla="*/ 179383 w 475355"/>
                <a:gd name="connsiteY90" fmla="*/ 300460 h 469752"/>
                <a:gd name="connsiteX91" fmla="*/ 161239 w 475355"/>
                <a:gd name="connsiteY91" fmla="*/ 287564 h 469752"/>
                <a:gd name="connsiteX92" fmla="*/ 140026 w 475355"/>
                <a:gd name="connsiteY92" fmla="*/ 275713 h 469752"/>
                <a:gd name="connsiteX93" fmla="*/ 139691 w 475355"/>
                <a:gd name="connsiteY93" fmla="*/ 275551 h 469752"/>
                <a:gd name="connsiteX94" fmla="*/ 134613 w 475355"/>
                <a:gd name="connsiteY94" fmla="*/ 277586 h 469752"/>
                <a:gd name="connsiteX95" fmla="*/ 136648 w 475355"/>
                <a:gd name="connsiteY95" fmla="*/ 282664 h 469752"/>
                <a:gd name="connsiteX96" fmla="*/ 157164 w 475355"/>
                <a:gd name="connsiteY96" fmla="*/ 294154 h 469752"/>
                <a:gd name="connsiteX97" fmla="*/ 174728 w 475355"/>
                <a:gd name="connsiteY97" fmla="*/ 306650 h 469752"/>
                <a:gd name="connsiteX98" fmla="*/ 196741 w 475355"/>
                <a:gd name="connsiteY98" fmla="*/ 321608 h 469752"/>
                <a:gd name="connsiteX99" fmla="*/ 197527 w 475355"/>
                <a:gd name="connsiteY99" fmla="*/ 330919 h 469752"/>
                <a:gd name="connsiteX100" fmla="*/ 198817 w 475355"/>
                <a:gd name="connsiteY100" fmla="*/ 340462 h 469752"/>
                <a:gd name="connsiteX101" fmla="*/ 149724 w 475355"/>
                <a:gd name="connsiteY101" fmla="*/ 325167 h 469752"/>
                <a:gd name="connsiteX102" fmla="*/ 117369 w 475355"/>
                <a:gd name="connsiteY102" fmla="*/ 257131 h 469752"/>
                <a:gd name="connsiteX103" fmla="*/ 118658 w 475355"/>
                <a:gd name="connsiteY103" fmla="*/ 255983 h 469752"/>
                <a:gd name="connsiteX104" fmla="*/ 363789 w 475355"/>
                <a:gd name="connsiteY104" fmla="*/ 222726 h 469752"/>
                <a:gd name="connsiteX105" fmla="*/ 365827 w 475355"/>
                <a:gd name="connsiteY105" fmla="*/ 224415 h 469752"/>
                <a:gd name="connsiteX106" fmla="*/ 312685 w 475355"/>
                <a:gd name="connsiteY106" fmla="*/ 321144 h 469752"/>
                <a:gd name="connsiteX107" fmla="*/ 237555 w 475355"/>
                <a:gd name="connsiteY107" fmla="*/ 341545 h 469752"/>
                <a:gd name="connsiteX108" fmla="*/ 212809 w 475355"/>
                <a:gd name="connsiteY108" fmla="*/ 339598 h 469752"/>
                <a:gd name="connsiteX109" fmla="*/ 212306 w 475355"/>
                <a:gd name="connsiteY109" fmla="*/ 339456 h 469752"/>
                <a:gd name="connsiteX110" fmla="*/ 234783 w 475355"/>
                <a:gd name="connsiteY110" fmla="*/ 308326 h 469752"/>
                <a:gd name="connsiteX111" fmla="*/ 265629 w 475355"/>
                <a:gd name="connsiteY111" fmla="*/ 287100 h 469752"/>
                <a:gd name="connsiteX112" fmla="*/ 289099 w 475355"/>
                <a:gd name="connsiteY112" fmla="*/ 276242 h 469752"/>
                <a:gd name="connsiteX113" fmla="*/ 315547 w 475355"/>
                <a:gd name="connsiteY113" fmla="*/ 263798 h 469752"/>
                <a:gd name="connsiteX114" fmla="*/ 336180 w 475355"/>
                <a:gd name="connsiteY114" fmla="*/ 251057 h 469752"/>
                <a:gd name="connsiteX115" fmla="*/ 336359 w 475355"/>
                <a:gd name="connsiteY115" fmla="*/ 250932 h 469752"/>
                <a:gd name="connsiteX116" fmla="*/ 337168 w 475355"/>
                <a:gd name="connsiteY116" fmla="*/ 245521 h 469752"/>
                <a:gd name="connsiteX117" fmla="*/ 331757 w 475355"/>
                <a:gd name="connsiteY117" fmla="*/ 244712 h 469752"/>
                <a:gd name="connsiteX118" fmla="*/ 311730 w 475355"/>
                <a:gd name="connsiteY118" fmla="*/ 257041 h 469752"/>
                <a:gd name="connsiteX119" fmla="*/ 285939 w 475355"/>
                <a:gd name="connsiteY119" fmla="*/ 269137 h 469752"/>
                <a:gd name="connsiteX120" fmla="*/ 261876 w 475355"/>
                <a:gd name="connsiteY120" fmla="*/ 280278 h 469752"/>
                <a:gd name="connsiteX121" fmla="*/ 229457 w 475355"/>
                <a:gd name="connsiteY121" fmla="*/ 302613 h 469752"/>
                <a:gd name="connsiteX122" fmla="*/ 207393 w 475355"/>
                <a:gd name="connsiteY122" fmla="*/ 331693 h 469752"/>
                <a:gd name="connsiteX123" fmla="*/ 207173 w 475355"/>
                <a:gd name="connsiteY123" fmla="*/ 329578 h 469752"/>
                <a:gd name="connsiteX124" fmla="*/ 228012 w 475355"/>
                <a:gd name="connsiteY124" fmla="*/ 260948 h 469752"/>
                <a:gd name="connsiteX125" fmla="*/ 331177 w 475355"/>
                <a:gd name="connsiteY125" fmla="*/ 226981 h 469752"/>
                <a:gd name="connsiteX126" fmla="*/ 336335 w 475355"/>
                <a:gd name="connsiteY126" fmla="*/ 226981 h 469752"/>
                <a:gd name="connsiteX127" fmla="*/ 337805 w 475355"/>
                <a:gd name="connsiteY127" fmla="*/ 226981 h 469752"/>
                <a:gd name="connsiteX128" fmla="*/ 362938 w 475355"/>
                <a:gd name="connsiteY128" fmla="*/ 222880 h 469752"/>
                <a:gd name="connsiteX129" fmla="*/ 363789 w 475355"/>
                <a:gd name="connsiteY129" fmla="*/ 222726 h 469752"/>
                <a:gd name="connsiteX130" fmla="*/ 221980 w 475355"/>
                <a:gd name="connsiteY130" fmla="*/ 677 h 469752"/>
                <a:gd name="connsiteX131" fmla="*/ 342360 w 475355"/>
                <a:gd name="connsiteY131" fmla="*/ 38214 h 469752"/>
                <a:gd name="connsiteX132" fmla="*/ 363402 w 475355"/>
                <a:gd name="connsiteY132" fmla="*/ 270259 h 469752"/>
                <a:gd name="connsiteX133" fmla="*/ 364408 w 475355"/>
                <a:gd name="connsiteY133" fmla="*/ 267679 h 469752"/>
                <a:gd name="connsiteX134" fmla="*/ 372274 w 475355"/>
                <a:gd name="connsiteY134" fmla="*/ 224312 h 469752"/>
                <a:gd name="connsiteX135" fmla="*/ 363789 w 475355"/>
                <a:gd name="connsiteY135" fmla="*/ 216265 h 469752"/>
                <a:gd name="connsiteX136" fmla="*/ 360604 w 475355"/>
                <a:gd name="connsiteY136" fmla="*/ 216858 h 469752"/>
                <a:gd name="connsiteX137" fmla="*/ 341879 w 475355"/>
                <a:gd name="connsiteY137" fmla="*/ 220404 h 469752"/>
                <a:gd name="connsiteX138" fmla="*/ 327411 w 475355"/>
                <a:gd name="connsiteY138" fmla="*/ 164618 h 469752"/>
                <a:gd name="connsiteX139" fmla="*/ 295546 w 475355"/>
                <a:gd name="connsiteY139" fmla="*/ 85517 h 469752"/>
                <a:gd name="connsiteX140" fmla="*/ 329293 w 475355"/>
                <a:gd name="connsiteY140" fmla="*/ 81945 h 469752"/>
                <a:gd name="connsiteX141" fmla="*/ 362074 w 475355"/>
                <a:gd name="connsiteY141" fmla="*/ 78799 h 469752"/>
                <a:gd name="connsiteX142" fmla="*/ 344226 w 475355"/>
                <a:gd name="connsiteY142" fmla="*/ 57392 h 469752"/>
                <a:gd name="connsiteX143" fmla="*/ 298331 w 475355"/>
                <a:gd name="connsiteY143" fmla="*/ 25734 h 469752"/>
                <a:gd name="connsiteX144" fmla="*/ 282637 w 475355"/>
                <a:gd name="connsiteY144" fmla="*/ 46367 h 469752"/>
                <a:gd name="connsiteX145" fmla="*/ 263642 w 475355"/>
                <a:gd name="connsiteY145" fmla="*/ 32181 h 469752"/>
                <a:gd name="connsiteX146" fmla="*/ 252320 w 475355"/>
                <a:gd name="connsiteY146" fmla="*/ 51718 h 469752"/>
                <a:gd name="connsiteX147" fmla="*/ 219656 w 475355"/>
                <a:gd name="connsiteY147" fmla="*/ 51718 h 469752"/>
                <a:gd name="connsiteX148" fmla="*/ 196947 w 475355"/>
                <a:gd name="connsiteY148" fmla="*/ 47527 h 469752"/>
                <a:gd name="connsiteX149" fmla="*/ 168899 w 475355"/>
                <a:gd name="connsiteY149" fmla="*/ 28893 h 469752"/>
                <a:gd name="connsiteX150" fmla="*/ 106730 w 475355"/>
                <a:gd name="connsiteY150" fmla="*/ 86497 h 469752"/>
                <a:gd name="connsiteX151" fmla="*/ 169028 w 475355"/>
                <a:gd name="connsiteY151" fmla="*/ 103262 h 469752"/>
                <a:gd name="connsiteX152" fmla="*/ 205574 w 475355"/>
                <a:gd name="connsiteY152" fmla="*/ 98516 h 469752"/>
                <a:gd name="connsiteX153" fmla="*/ 207095 w 475355"/>
                <a:gd name="connsiteY153" fmla="*/ 133489 h 469752"/>
                <a:gd name="connsiteX154" fmla="*/ 235466 w 475355"/>
                <a:gd name="connsiteY154" fmla="*/ 160814 h 469752"/>
                <a:gd name="connsiteX155" fmla="*/ 225910 w 475355"/>
                <a:gd name="connsiteY155" fmla="*/ 214975 h 469752"/>
                <a:gd name="connsiteX156" fmla="*/ 199990 w 475355"/>
                <a:gd name="connsiteY156" fmla="*/ 271123 h 469752"/>
                <a:gd name="connsiteX157" fmla="*/ 136080 w 475355"/>
                <a:gd name="connsiteY157" fmla="*/ 252837 h 469752"/>
                <a:gd name="connsiteX158" fmla="*/ 129632 w 475355"/>
                <a:gd name="connsiteY158" fmla="*/ 252295 h 469752"/>
                <a:gd name="connsiteX159" fmla="*/ 131309 w 475355"/>
                <a:gd name="connsiteY159" fmla="*/ 211648 h 469752"/>
                <a:gd name="connsiteX160" fmla="*/ 93795 w 475355"/>
                <a:gd name="connsiteY160" fmla="*/ 215930 h 469752"/>
                <a:gd name="connsiteX161" fmla="*/ 112687 w 475355"/>
                <a:gd name="connsiteY161" fmla="*/ 252244 h 469752"/>
                <a:gd name="connsiteX162" fmla="*/ 110921 w 475355"/>
                <a:gd name="connsiteY162" fmla="*/ 256860 h 469752"/>
                <a:gd name="connsiteX163" fmla="*/ 111733 w 475355"/>
                <a:gd name="connsiteY163" fmla="*/ 271935 h 469752"/>
                <a:gd name="connsiteX164" fmla="*/ 110316 w 475355"/>
                <a:gd name="connsiteY164" fmla="*/ 59256 h 469752"/>
                <a:gd name="connsiteX165" fmla="*/ 221980 w 475355"/>
                <a:gd name="connsiteY165" fmla="*/ 677 h 469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</a:cxnLst>
              <a:rect l="l" t="t" r="r" b="b"/>
              <a:pathLst>
                <a:path w="475355" h="469752">
                  <a:moveTo>
                    <a:pt x="57275" y="288557"/>
                  </a:moveTo>
                  <a:cubicBezTo>
                    <a:pt x="60834" y="289421"/>
                    <a:pt x="66431" y="291394"/>
                    <a:pt x="68339" y="294940"/>
                  </a:cubicBezTo>
                  <a:lnTo>
                    <a:pt x="77366" y="312298"/>
                  </a:lnTo>
                  <a:cubicBezTo>
                    <a:pt x="75462" y="311987"/>
                    <a:pt x="73531" y="311862"/>
                    <a:pt x="71602" y="311924"/>
                  </a:cubicBezTo>
                  <a:lnTo>
                    <a:pt x="69371" y="311924"/>
                  </a:lnTo>
                  <a:cubicBezTo>
                    <a:pt x="68920" y="311924"/>
                    <a:pt x="68468" y="311924"/>
                    <a:pt x="68004" y="311924"/>
                  </a:cubicBezTo>
                  <a:close/>
                  <a:moveTo>
                    <a:pt x="418053" y="288376"/>
                  </a:moveTo>
                  <a:lnTo>
                    <a:pt x="407311" y="311743"/>
                  </a:lnTo>
                  <a:cubicBezTo>
                    <a:pt x="406860" y="311717"/>
                    <a:pt x="403649" y="311369"/>
                    <a:pt x="403198" y="311369"/>
                  </a:cubicBezTo>
                  <a:cubicBezTo>
                    <a:pt x="401314" y="311367"/>
                    <a:pt x="399436" y="311610"/>
                    <a:pt x="397614" y="312091"/>
                  </a:cubicBezTo>
                  <a:lnTo>
                    <a:pt x="406641" y="294721"/>
                  </a:lnTo>
                  <a:cubicBezTo>
                    <a:pt x="408485" y="291239"/>
                    <a:pt x="414378" y="289253"/>
                    <a:pt x="418053" y="288376"/>
                  </a:cubicBezTo>
                  <a:close/>
                  <a:moveTo>
                    <a:pt x="438854" y="278808"/>
                  </a:moveTo>
                  <a:cubicBezTo>
                    <a:pt x="439219" y="278788"/>
                    <a:pt x="439585" y="278788"/>
                    <a:pt x="439950" y="278808"/>
                  </a:cubicBezTo>
                  <a:lnTo>
                    <a:pt x="431568" y="299182"/>
                  </a:lnTo>
                  <a:lnTo>
                    <a:pt x="422116" y="322394"/>
                  </a:lnTo>
                  <a:cubicBezTo>
                    <a:pt x="420192" y="319030"/>
                    <a:pt x="417411" y="316235"/>
                    <a:pt x="414056" y="314296"/>
                  </a:cubicBezTo>
                  <a:lnTo>
                    <a:pt x="425378" y="289653"/>
                  </a:lnTo>
                  <a:lnTo>
                    <a:pt x="426668" y="286712"/>
                  </a:lnTo>
                  <a:cubicBezTo>
                    <a:pt x="428817" y="281906"/>
                    <a:pt x="433589" y="278811"/>
                    <a:pt x="438854" y="278808"/>
                  </a:cubicBezTo>
                  <a:close/>
                  <a:moveTo>
                    <a:pt x="35443" y="278756"/>
                  </a:moveTo>
                  <a:cubicBezTo>
                    <a:pt x="35808" y="278737"/>
                    <a:pt x="36174" y="278737"/>
                    <a:pt x="36539" y="278756"/>
                  </a:cubicBezTo>
                  <a:cubicBezTo>
                    <a:pt x="41837" y="278724"/>
                    <a:pt x="46653" y="281826"/>
                    <a:pt x="48816" y="286661"/>
                  </a:cubicBezTo>
                  <a:lnTo>
                    <a:pt x="50105" y="289602"/>
                  </a:lnTo>
                  <a:lnTo>
                    <a:pt x="61402" y="314245"/>
                  </a:lnTo>
                  <a:cubicBezTo>
                    <a:pt x="57997" y="316182"/>
                    <a:pt x="55174" y="318997"/>
                    <a:pt x="53226" y="322395"/>
                  </a:cubicBezTo>
                  <a:lnTo>
                    <a:pt x="43774" y="299183"/>
                  </a:lnTo>
                  <a:close/>
                  <a:moveTo>
                    <a:pt x="466979" y="273482"/>
                  </a:moveTo>
                  <a:cubicBezTo>
                    <a:pt x="473816" y="276223"/>
                    <a:pt x="477135" y="283989"/>
                    <a:pt x="474394" y="290826"/>
                  </a:cubicBezTo>
                  <a:lnTo>
                    <a:pt x="444037" y="367954"/>
                  </a:lnTo>
                  <a:cubicBezTo>
                    <a:pt x="439344" y="379916"/>
                    <a:pt x="431280" y="390259"/>
                    <a:pt x="420826" y="397730"/>
                  </a:cubicBezTo>
                  <a:lnTo>
                    <a:pt x="333910" y="459758"/>
                  </a:lnTo>
                  <a:lnTo>
                    <a:pt x="321956" y="469004"/>
                  </a:lnTo>
                  <a:cubicBezTo>
                    <a:pt x="321397" y="469463"/>
                    <a:pt x="320705" y="469725"/>
                    <a:pt x="319983" y="469752"/>
                  </a:cubicBezTo>
                  <a:cubicBezTo>
                    <a:pt x="318969" y="469745"/>
                    <a:pt x="318016" y="469269"/>
                    <a:pt x="317403" y="468462"/>
                  </a:cubicBezTo>
                  <a:lnTo>
                    <a:pt x="291122" y="435217"/>
                  </a:lnTo>
                  <a:cubicBezTo>
                    <a:pt x="291119" y="435212"/>
                    <a:pt x="291115" y="435207"/>
                    <a:pt x="291110" y="435202"/>
                  </a:cubicBezTo>
                  <a:cubicBezTo>
                    <a:pt x="290003" y="433789"/>
                    <a:pt x="290251" y="431746"/>
                    <a:pt x="291664" y="430640"/>
                  </a:cubicBezTo>
                  <a:lnTo>
                    <a:pt x="294798" y="428151"/>
                  </a:lnTo>
                  <a:cubicBezTo>
                    <a:pt x="296722" y="426638"/>
                    <a:pt x="297749" y="424256"/>
                    <a:pt x="297531" y="421819"/>
                  </a:cubicBezTo>
                  <a:cubicBezTo>
                    <a:pt x="296696" y="412263"/>
                    <a:pt x="299149" y="402710"/>
                    <a:pt x="304482" y="394738"/>
                  </a:cubicBezTo>
                  <a:lnTo>
                    <a:pt x="307306" y="390173"/>
                  </a:lnTo>
                  <a:cubicBezTo>
                    <a:pt x="313153" y="381466"/>
                    <a:pt x="321490" y="374726"/>
                    <a:pt x="331227" y="370830"/>
                  </a:cubicBezTo>
                  <a:lnTo>
                    <a:pt x="337327" y="368393"/>
                  </a:lnTo>
                  <a:cubicBezTo>
                    <a:pt x="345692" y="365039"/>
                    <a:pt x="353437" y="360310"/>
                    <a:pt x="360242" y="354401"/>
                  </a:cubicBezTo>
                  <a:lnTo>
                    <a:pt x="395060" y="324161"/>
                  </a:lnTo>
                  <a:cubicBezTo>
                    <a:pt x="399934" y="319826"/>
                    <a:pt x="407364" y="320120"/>
                    <a:pt x="411880" y="324825"/>
                  </a:cubicBezTo>
                  <a:cubicBezTo>
                    <a:pt x="416521" y="329661"/>
                    <a:pt x="416362" y="337342"/>
                    <a:pt x="411528" y="341983"/>
                  </a:cubicBezTo>
                  <a:lnTo>
                    <a:pt x="376710" y="376169"/>
                  </a:lnTo>
                  <a:cubicBezTo>
                    <a:pt x="374894" y="377950"/>
                    <a:pt x="374865" y="380865"/>
                    <a:pt x="376645" y="382681"/>
                  </a:cubicBezTo>
                  <a:cubicBezTo>
                    <a:pt x="378426" y="384497"/>
                    <a:pt x="381342" y="384526"/>
                    <a:pt x="383158" y="382746"/>
                  </a:cubicBezTo>
                  <a:lnTo>
                    <a:pt x="413604" y="353331"/>
                  </a:lnTo>
                  <a:cubicBezTo>
                    <a:pt x="420632" y="346556"/>
                    <a:pt x="426167" y="338385"/>
                    <a:pt x="429852" y="329345"/>
                  </a:cubicBezTo>
                  <a:lnTo>
                    <a:pt x="449634" y="280897"/>
                  </a:lnTo>
                  <a:cubicBezTo>
                    <a:pt x="452376" y="274060"/>
                    <a:pt x="460141" y="270740"/>
                    <a:pt x="466979" y="273482"/>
                  </a:cubicBezTo>
                  <a:close/>
                  <a:moveTo>
                    <a:pt x="8376" y="273482"/>
                  </a:moveTo>
                  <a:cubicBezTo>
                    <a:pt x="15213" y="270740"/>
                    <a:pt x="22978" y="274060"/>
                    <a:pt x="25720" y="280897"/>
                  </a:cubicBezTo>
                  <a:lnTo>
                    <a:pt x="45567" y="329345"/>
                  </a:lnTo>
                  <a:cubicBezTo>
                    <a:pt x="49221" y="338376"/>
                    <a:pt x="54720" y="346545"/>
                    <a:pt x="61712" y="353331"/>
                  </a:cubicBezTo>
                  <a:lnTo>
                    <a:pt x="92223" y="382746"/>
                  </a:lnTo>
                  <a:cubicBezTo>
                    <a:pt x="94038" y="384508"/>
                    <a:pt x="96940" y="384465"/>
                    <a:pt x="98703" y="382649"/>
                  </a:cubicBezTo>
                  <a:cubicBezTo>
                    <a:pt x="100465" y="380833"/>
                    <a:pt x="100422" y="377932"/>
                    <a:pt x="98606" y="376169"/>
                  </a:cubicBezTo>
                  <a:lnTo>
                    <a:pt x="63788" y="341983"/>
                  </a:lnTo>
                  <a:cubicBezTo>
                    <a:pt x="59082" y="337466"/>
                    <a:pt x="58788" y="330036"/>
                    <a:pt x="63124" y="325163"/>
                  </a:cubicBezTo>
                  <a:cubicBezTo>
                    <a:pt x="67578" y="320156"/>
                    <a:pt x="75248" y="319707"/>
                    <a:pt x="80256" y="324161"/>
                  </a:cubicBezTo>
                  <a:lnTo>
                    <a:pt x="115061" y="354401"/>
                  </a:lnTo>
                  <a:cubicBezTo>
                    <a:pt x="121866" y="360310"/>
                    <a:pt x="129611" y="365039"/>
                    <a:pt x="137976" y="368393"/>
                  </a:cubicBezTo>
                  <a:lnTo>
                    <a:pt x="144075" y="370830"/>
                  </a:lnTo>
                  <a:cubicBezTo>
                    <a:pt x="153813" y="374726"/>
                    <a:pt x="162150" y="381466"/>
                    <a:pt x="167997" y="390173"/>
                  </a:cubicBezTo>
                  <a:lnTo>
                    <a:pt x="170988" y="394661"/>
                  </a:lnTo>
                  <a:cubicBezTo>
                    <a:pt x="176322" y="402633"/>
                    <a:pt x="178775" y="412186"/>
                    <a:pt x="177939" y="421742"/>
                  </a:cubicBezTo>
                  <a:cubicBezTo>
                    <a:pt x="177721" y="424179"/>
                    <a:pt x="178749" y="426561"/>
                    <a:pt x="180673" y="428073"/>
                  </a:cubicBezTo>
                  <a:lnTo>
                    <a:pt x="183807" y="430562"/>
                  </a:lnTo>
                  <a:cubicBezTo>
                    <a:pt x="183812" y="430566"/>
                    <a:pt x="183817" y="430570"/>
                    <a:pt x="183822" y="430575"/>
                  </a:cubicBezTo>
                  <a:cubicBezTo>
                    <a:pt x="185228" y="431691"/>
                    <a:pt x="185464" y="433734"/>
                    <a:pt x="184348" y="435140"/>
                  </a:cubicBezTo>
                  <a:lnTo>
                    <a:pt x="158067" y="468385"/>
                  </a:lnTo>
                  <a:cubicBezTo>
                    <a:pt x="157455" y="469192"/>
                    <a:pt x="156502" y="469668"/>
                    <a:pt x="155488" y="469674"/>
                  </a:cubicBezTo>
                  <a:cubicBezTo>
                    <a:pt x="154766" y="469676"/>
                    <a:pt x="154064" y="469440"/>
                    <a:pt x="153489" y="469004"/>
                  </a:cubicBezTo>
                  <a:lnTo>
                    <a:pt x="141535" y="459758"/>
                  </a:lnTo>
                  <a:lnTo>
                    <a:pt x="54593" y="397730"/>
                  </a:lnTo>
                  <a:cubicBezTo>
                    <a:pt x="44139" y="390259"/>
                    <a:pt x="36076" y="379916"/>
                    <a:pt x="31382" y="367954"/>
                  </a:cubicBezTo>
                  <a:lnTo>
                    <a:pt x="961" y="290826"/>
                  </a:lnTo>
                  <a:cubicBezTo>
                    <a:pt x="-1781" y="283989"/>
                    <a:pt x="1539" y="276223"/>
                    <a:pt x="8376" y="273482"/>
                  </a:cubicBezTo>
                  <a:close/>
                  <a:moveTo>
                    <a:pt x="118658" y="255983"/>
                  </a:moveTo>
                  <a:cubicBezTo>
                    <a:pt x="118853" y="255984"/>
                    <a:pt x="119047" y="256023"/>
                    <a:pt x="119226" y="256099"/>
                  </a:cubicBezTo>
                  <a:cubicBezTo>
                    <a:pt x="124585" y="258263"/>
                    <a:pt x="130313" y="259363"/>
                    <a:pt x="136093" y="259336"/>
                  </a:cubicBezTo>
                  <a:cubicBezTo>
                    <a:pt x="144462" y="259336"/>
                    <a:pt x="182839" y="259736"/>
                    <a:pt x="203060" y="282754"/>
                  </a:cubicBezTo>
                  <a:cubicBezTo>
                    <a:pt x="201310" y="287269"/>
                    <a:pt x="199912" y="291913"/>
                    <a:pt x="198881" y="296643"/>
                  </a:cubicBezTo>
                  <a:cubicBezTo>
                    <a:pt x="198193" y="299812"/>
                    <a:pt x="197663" y="303014"/>
                    <a:pt x="197295" y="306237"/>
                  </a:cubicBezTo>
                  <a:lnTo>
                    <a:pt x="196947" y="312801"/>
                  </a:lnTo>
                  <a:cubicBezTo>
                    <a:pt x="190847" y="309047"/>
                    <a:pt x="184983" y="304925"/>
                    <a:pt x="179383" y="300460"/>
                  </a:cubicBezTo>
                  <a:cubicBezTo>
                    <a:pt x="173569" y="295842"/>
                    <a:pt x="167512" y="291537"/>
                    <a:pt x="161239" y="287564"/>
                  </a:cubicBezTo>
                  <a:cubicBezTo>
                    <a:pt x="154376" y="283252"/>
                    <a:pt x="147297" y="279296"/>
                    <a:pt x="140026" y="275713"/>
                  </a:cubicBezTo>
                  <a:cubicBezTo>
                    <a:pt x="139917" y="275654"/>
                    <a:pt x="139806" y="275600"/>
                    <a:pt x="139691" y="275551"/>
                  </a:cubicBezTo>
                  <a:cubicBezTo>
                    <a:pt x="137727" y="274710"/>
                    <a:pt x="135453" y="275620"/>
                    <a:pt x="134613" y="277586"/>
                  </a:cubicBezTo>
                  <a:cubicBezTo>
                    <a:pt x="133772" y="279550"/>
                    <a:pt x="134684" y="281823"/>
                    <a:pt x="136648" y="282664"/>
                  </a:cubicBezTo>
                  <a:cubicBezTo>
                    <a:pt x="143677" y="286143"/>
                    <a:pt x="150526" y="289978"/>
                    <a:pt x="157164" y="294154"/>
                  </a:cubicBezTo>
                  <a:cubicBezTo>
                    <a:pt x="163239" y="298001"/>
                    <a:pt x="169103" y="302171"/>
                    <a:pt x="174728" y="306650"/>
                  </a:cubicBezTo>
                  <a:cubicBezTo>
                    <a:pt x="181652" y="312219"/>
                    <a:pt x="189014" y="317221"/>
                    <a:pt x="196741" y="321608"/>
                  </a:cubicBezTo>
                  <a:cubicBezTo>
                    <a:pt x="196840" y="324724"/>
                    <a:pt x="197103" y="327832"/>
                    <a:pt x="197527" y="330919"/>
                  </a:cubicBezTo>
                  <a:lnTo>
                    <a:pt x="198817" y="340462"/>
                  </a:lnTo>
                  <a:cubicBezTo>
                    <a:pt x="185831" y="340397"/>
                    <a:pt x="166952" y="337650"/>
                    <a:pt x="149724" y="325167"/>
                  </a:cubicBezTo>
                  <a:cubicBezTo>
                    <a:pt x="117833" y="302072"/>
                    <a:pt x="117059" y="265913"/>
                    <a:pt x="117369" y="257131"/>
                  </a:cubicBezTo>
                  <a:cubicBezTo>
                    <a:pt x="117441" y="256474"/>
                    <a:pt x="117998" y="255979"/>
                    <a:pt x="118658" y="255983"/>
                  </a:cubicBezTo>
                  <a:close/>
                  <a:moveTo>
                    <a:pt x="363789" y="222726"/>
                  </a:moveTo>
                  <a:cubicBezTo>
                    <a:pt x="364809" y="222656"/>
                    <a:pt x="365706" y="223399"/>
                    <a:pt x="365827" y="224415"/>
                  </a:cubicBezTo>
                  <a:cubicBezTo>
                    <a:pt x="366020" y="237052"/>
                    <a:pt x="363519" y="288996"/>
                    <a:pt x="312685" y="321144"/>
                  </a:cubicBezTo>
                  <a:cubicBezTo>
                    <a:pt x="286300" y="337805"/>
                    <a:pt x="257827" y="341545"/>
                    <a:pt x="237555" y="341545"/>
                  </a:cubicBezTo>
                  <a:cubicBezTo>
                    <a:pt x="229267" y="341576"/>
                    <a:pt x="220990" y="340925"/>
                    <a:pt x="212809" y="339598"/>
                  </a:cubicBezTo>
                  <a:cubicBezTo>
                    <a:pt x="212637" y="339564"/>
                    <a:pt x="212470" y="339516"/>
                    <a:pt x="212306" y="339456"/>
                  </a:cubicBezTo>
                  <a:cubicBezTo>
                    <a:pt x="217811" y="327780"/>
                    <a:pt x="225432" y="317225"/>
                    <a:pt x="234783" y="308326"/>
                  </a:cubicBezTo>
                  <a:cubicBezTo>
                    <a:pt x="244129" y="299980"/>
                    <a:pt x="254493" y="292847"/>
                    <a:pt x="265629" y="287100"/>
                  </a:cubicBezTo>
                  <a:cubicBezTo>
                    <a:pt x="273198" y="283064"/>
                    <a:pt x="281284" y="279595"/>
                    <a:pt x="289099" y="276242"/>
                  </a:cubicBezTo>
                  <a:cubicBezTo>
                    <a:pt x="298122" y="272549"/>
                    <a:pt x="306950" y="268395"/>
                    <a:pt x="315547" y="263798"/>
                  </a:cubicBezTo>
                  <a:cubicBezTo>
                    <a:pt x="322636" y="259903"/>
                    <a:pt x="329522" y="255650"/>
                    <a:pt x="336180" y="251057"/>
                  </a:cubicBezTo>
                  <a:cubicBezTo>
                    <a:pt x="336241" y="251017"/>
                    <a:pt x="336301" y="250976"/>
                    <a:pt x="336359" y="250932"/>
                  </a:cubicBezTo>
                  <a:cubicBezTo>
                    <a:pt x="338077" y="249662"/>
                    <a:pt x="338439" y="247239"/>
                    <a:pt x="337168" y="245521"/>
                  </a:cubicBezTo>
                  <a:cubicBezTo>
                    <a:pt x="335898" y="243803"/>
                    <a:pt x="333475" y="243441"/>
                    <a:pt x="331757" y="244712"/>
                  </a:cubicBezTo>
                  <a:cubicBezTo>
                    <a:pt x="325295" y="249159"/>
                    <a:pt x="318611" y="253274"/>
                    <a:pt x="311730" y="257041"/>
                  </a:cubicBezTo>
                  <a:cubicBezTo>
                    <a:pt x="303343" y="261505"/>
                    <a:pt x="294735" y="265543"/>
                    <a:pt x="285939" y="269137"/>
                  </a:cubicBezTo>
                  <a:cubicBezTo>
                    <a:pt x="277983" y="272541"/>
                    <a:pt x="269742" y="276087"/>
                    <a:pt x="261876" y="280278"/>
                  </a:cubicBezTo>
                  <a:cubicBezTo>
                    <a:pt x="250170" y="286325"/>
                    <a:pt x="239277" y="293829"/>
                    <a:pt x="229457" y="302613"/>
                  </a:cubicBezTo>
                  <a:cubicBezTo>
                    <a:pt x="220564" y="311037"/>
                    <a:pt x="213110" y="320860"/>
                    <a:pt x="207393" y="331693"/>
                  </a:cubicBezTo>
                  <a:cubicBezTo>
                    <a:pt x="207279" y="330992"/>
                    <a:pt x="207207" y="330286"/>
                    <a:pt x="207173" y="329578"/>
                  </a:cubicBezTo>
                  <a:cubicBezTo>
                    <a:pt x="205097" y="314722"/>
                    <a:pt x="205703" y="285243"/>
                    <a:pt x="228012" y="260948"/>
                  </a:cubicBezTo>
                  <a:cubicBezTo>
                    <a:pt x="256924" y="229457"/>
                    <a:pt x="311150" y="226981"/>
                    <a:pt x="331177" y="226981"/>
                  </a:cubicBezTo>
                  <a:cubicBezTo>
                    <a:pt x="333330" y="226981"/>
                    <a:pt x="335045" y="226981"/>
                    <a:pt x="336335" y="226981"/>
                  </a:cubicBezTo>
                  <a:lnTo>
                    <a:pt x="337805" y="226981"/>
                  </a:lnTo>
                  <a:cubicBezTo>
                    <a:pt x="346355" y="227047"/>
                    <a:pt x="354853" y="225659"/>
                    <a:pt x="362938" y="222880"/>
                  </a:cubicBezTo>
                  <a:cubicBezTo>
                    <a:pt x="363210" y="222780"/>
                    <a:pt x="363499" y="222727"/>
                    <a:pt x="363789" y="222726"/>
                  </a:cubicBezTo>
                  <a:close/>
                  <a:moveTo>
                    <a:pt x="221980" y="677"/>
                  </a:moveTo>
                  <a:cubicBezTo>
                    <a:pt x="263972" y="-3131"/>
                    <a:pt x="307416" y="9081"/>
                    <a:pt x="342360" y="38214"/>
                  </a:cubicBezTo>
                  <a:cubicBezTo>
                    <a:pt x="412248" y="96481"/>
                    <a:pt x="421669" y="200371"/>
                    <a:pt x="363402" y="270259"/>
                  </a:cubicBezTo>
                  <a:cubicBezTo>
                    <a:pt x="363737" y="269395"/>
                    <a:pt x="364086" y="268543"/>
                    <a:pt x="364408" y="267679"/>
                  </a:cubicBezTo>
                  <a:cubicBezTo>
                    <a:pt x="369624" y="253817"/>
                    <a:pt x="372290" y="239124"/>
                    <a:pt x="372274" y="224312"/>
                  </a:cubicBezTo>
                  <a:cubicBezTo>
                    <a:pt x="372113" y="219765"/>
                    <a:pt x="368338" y="216185"/>
                    <a:pt x="363789" y="216265"/>
                  </a:cubicBezTo>
                  <a:cubicBezTo>
                    <a:pt x="362699" y="216261"/>
                    <a:pt x="361619" y="216462"/>
                    <a:pt x="360604" y="216858"/>
                  </a:cubicBezTo>
                  <a:cubicBezTo>
                    <a:pt x="354566" y="218937"/>
                    <a:pt x="348259" y="220132"/>
                    <a:pt x="341879" y="220404"/>
                  </a:cubicBezTo>
                  <a:cubicBezTo>
                    <a:pt x="356219" y="203434"/>
                    <a:pt x="363724" y="186180"/>
                    <a:pt x="327411" y="164618"/>
                  </a:cubicBezTo>
                  <a:cubicBezTo>
                    <a:pt x="263745" y="126783"/>
                    <a:pt x="295546" y="85517"/>
                    <a:pt x="295546" y="85517"/>
                  </a:cubicBezTo>
                  <a:cubicBezTo>
                    <a:pt x="295546" y="85517"/>
                    <a:pt x="307732" y="69501"/>
                    <a:pt x="329293" y="81945"/>
                  </a:cubicBezTo>
                  <a:cubicBezTo>
                    <a:pt x="343182" y="89953"/>
                    <a:pt x="355845" y="83428"/>
                    <a:pt x="362074" y="78799"/>
                  </a:cubicBezTo>
                  <a:cubicBezTo>
                    <a:pt x="356783" y="71139"/>
                    <a:pt x="350810" y="63974"/>
                    <a:pt x="344226" y="57392"/>
                  </a:cubicBezTo>
                  <a:cubicBezTo>
                    <a:pt x="331010" y="44101"/>
                    <a:pt x="315450" y="33368"/>
                    <a:pt x="298331" y="25734"/>
                  </a:cubicBezTo>
                  <a:cubicBezTo>
                    <a:pt x="293740" y="35276"/>
                    <a:pt x="291084" y="45154"/>
                    <a:pt x="282637" y="46367"/>
                  </a:cubicBezTo>
                  <a:cubicBezTo>
                    <a:pt x="272579" y="47785"/>
                    <a:pt x="277544" y="36940"/>
                    <a:pt x="263642" y="32181"/>
                  </a:cubicBezTo>
                  <a:cubicBezTo>
                    <a:pt x="249741" y="27423"/>
                    <a:pt x="257904" y="40370"/>
                    <a:pt x="252320" y="51718"/>
                  </a:cubicBezTo>
                  <a:cubicBezTo>
                    <a:pt x="246736" y="63066"/>
                    <a:pt x="225910" y="60822"/>
                    <a:pt x="219656" y="51718"/>
                  </a:cubicBezTo>
                  <a:cubicBezTo>
                    <a:pt x="211918" y="40357"/>
                    <a:pt x="225072" y="45270"/>
                    <a:pt x="196947" y="47527"/>
                  </a:cubicBezTo>
                  <a:cubicBezTo>
                    <a:pt x="177487" y="49075"/>
                    <a:pt x="171027" y="36630"/>
                    <a:pt x="168899" y="28893"/>
                  </a:cubicBezTo>
                  <a:cubicBezTo>
                    <a:pt x="143176" y="41874"/>
                    <a:pt x="121630" y="61837"/>
                    <a:pt x="106730" y="86497"/>
                  </a:cubicBezTo>
                  <a:cubicBezTo>
                    <a:pt x="115499" y="97136"/>
                    <a:pt x="138401" y="119020"/>
                    <a:pt x="169028" y="103262"/>
                  </a:cubicBezTo>
                  <a:cubicBezTo>
                    <a:pt x="208553" y="82938"/>
                    <a:pt x="207057" y="87245"/>
                    <a:pt x="205574" y="98516"/>
                  </a:cubicBezTo>
                  <a:cubicBezTo>
                    <a:pt x="204091" y="109787"/>
                    <a:pt x="196431" y="132483"/>
                    <a:pt x="207095" y="133489"/>
                  </a:cubicBezTo>
                  <a:cubicBezTo>
                    <a:pt x="217760" y="134495"/>
                    <a:pt x="249290" y="123043"/>
                    <a:pt x="235466" y="160814"/>
                  </a:cubicBezTo>
                  <a:cubicBezTo>
                    <a:pt x="225304" y="188527"/>
                    <a:pt x="241784" y="200378"/>
                    <a:pt x="225910" y="214975"/>
                  </a:cubicBezTo>
                  <a:cubicBezTo>
                    <a:pt x="209981" y="229378"/>
                    <a:pt x="200621" y="249657"/>
                    <a:pt x="199990" y="271123"/>
                  </a:cubicBezTo>
                  <a:cubicBezTo>
                    <a:pt x="188823" y="262405"/>
                    <a:pt x="169105" y="252914"/>
                    <a:pt x="136080" y="252837"/>
                  </a:cubicBezTo>
                  <a:cubicBezTo>
                    <a:pt x="133920" y="252825"/>
                    <a:pt x="131764" y="252645"/>
                    <a:pt x="129632" y="252295"/>
                  </a:cubicBezTo>
                  <a:cubicBezTo>
                    <a:pt x="119341" y="242688"/>
                    <a:pt x="114622" y="226130"/>
                    <a:pt x="131309" y="211648"/>
                  </a:cubicBezTo>
                  <a:cubicBezTo>
                    <a:pt x="153772" y="192163"/>
                    <a:pt x="117833" y="212732"/>
                    <a:pt x="93795" y="215930"/>
                  </a:cubicBezTo>
                  <a:cubicBezTo>
                    <a:pt x="98409" y="228838"/>
                    <a:pt x="104766" y="241057"/>
                    <a:pt x="112687" y="252244"/>
                  </a:cubicBezTo>
                  <a:cubicBezTo>
                    <a:pt x="111590" y="253537"/>
                    <a:pt x="110967" y="255166"/>
                    <a:pt x="110921" y="256860"/>
                  </a:cubicBezTo>
                  <a:cubicBezTo>
                    <a:pt x="110770" y="261898"/>
                    <a:pt x="111041" y="266942"/>
                    <a:pt x="111733" y="271935"/>
                  </a:cubicBezTo>
                  <a:cubicBezTo>
                    <a:pt x="59438" y="210881"/>
                    <a:pt x="58838" y="121001"/>
                    <a:pt x="110316" y="59256"/>
                  </a:cubicBezTo>
                  <a:cubicBezTo>
                    <a:pt x="139449" y="24312"/>
                    <a:pt x="179989" y="4485"/>
                    <a:pt x="221980" y="677"/>
                  </a:cubicBezTo>
                  <a:close/>
                </a:path>
              </a:pathLst>
            </a:custGeom>
            <a:solidFill>
              <a:srgbClr val="025EA1"/>
            </a:solidFill>
            <a:ln w="12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1" name="Группа 110">
            <a:extLst>
              <a:ext uri="{FF2B5EF4-FFF2-40B4-BE49-F238E27FC236}">
                <a16:creationId xmlns:a16="http://schemas.microsoft.com/office/drawing/2014/main" id="{D332B810-4145-5E65-731B-D8107C0F926D}"/>
              </a:ext>
            </a:extLst>
          </p:cNvPr>
          <p:cNvGrpSpPr/>
          <p:nvPr/>
        </p:nvGrpSpPr>
        <p:grpSpPr>
          <a:xfrm>
            <a:off x="11138564" y="4107080"/>
            <a:ext cx="514522" cy="503872"/>
            <a:chOff x="4803421" y="4584702"/>
            <a:chExt cx="719999" cy="720000"/>
          </a:xfrm>
        </p:grpSpPr>
        <p:pic>
          <p:nvPicPr>
            <p:cNvPr id="112" name="Рисунок 111">
              <a:extLst>
                <a:ext uri="{FF2B5EF4-FFF2-40B4-BE49-F238E27FC236}">
                  <a16:creationId xmlns:a16="http://schemas.microsoft.com/office/drawing/2014/main" id="{9B3F9736-86EA-6468-E09B-59FB2F35487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/>
            <a:stretch/>
          </p:blipFill>
          <p:spPr>
            <a:xfrm>
              <a:off x="4803421" y="4584702"/>
              <a:ext cx="719999" cy="720000"/>
            </a:xfrm>
            <a:prstGeom prst="rect">
              <a:avLst/>
            </a:prstGeom>
          </p:spPr>
        </p:pic>
        <p:sp>
          <p:nvSpPr>
            <p:cNvPr id="113" name="Полилиния 208">
              <a:extLst>
                <a:ext uri="{FF2B5EF4-FFF2-40B4-BE49-F238E27FC236}">
                  <a16:creationId xmlns:a16="http://schemas.microsoft.com/office/drawing/2014/main" id="{F9EBB9D5-7ADB-DF9A-1736-C974BFBA9F29}"/>
                </a:ext>
              </a:extLst>
            </p:cNvPr>
            <p:cNvSpPr/>
            <p:nvPr/>
          </p:nvSpPr>
          <p:spPr>
            <a:xfrm>
              <a:off x="4927765" y="4704229"/>
              <a:ext cx="450425" cy="461731"/>
            </a:xfrm>
            <a:custGeom>
              <a:avLst/>
              <a:gdLst>
                <a:gd name="connsiteX0" fmla="*/ 236131 w 450425"/>
                <a:gd name="connsiteY0" fmla="*/ 367503 h 461731"/>
                <a:gd name="connsiteX1" fmla="*/ 159449 w 450425"/>
                <a:gd name="connsiteY1" fmla="*/ 394221 h 461731"/>
                <a:gd name="connsiteX2" fmla="*/ 233082 w 450425"/>
                <a:gd name="connsiteY2" fmla="*/ 448867 h 461731"/>
                <a:gd name="connsiteX3" fmla="*/ 307590 w 450425"/>
                <a:gd name="connsiteY3" fmla="*/ 392690 h 461731"/>
                <a:gd name="connsiteX4" fmla="*/ 236131 w 450425"/>
                <a:gd name="connsiteY4" fmla="*/ 367503 h 461731"/>
                <a:gd name="connsiteX5" fmla="*/ 337382 w 450425"/>
                <a:gd name="connsiteY5" fmla="*/ 306065 h 461731"/>
                <a:gd name="connsiteX6" fmla="*/ 315411 w 450425"/>
                <a:gd name="connsiteY6" fmla="*/ 322171 h 461731"/>
                <a:gd name="connsiteX7" fmla="*/ 251465 w 450425"/>
                <a:gd name="connsiteY7" fmla="*/ 360106 h 461731"/>
                <a:gd name="connsiteX8" fmla="*/ 313803 w 450425"/>
                <a:gd name="connsiteY8" fmla="*/ 380920 h 461731"/>
                <a:gd name="connsiteX9" fmla="*/ 337382 w 450425"/>
                <a:gd name="connsiteY9" fmla="*/ 306065 h 461731"/>
                <a:gd name="connsiteX10" fmla="*/ 127997 w 450425"/>
                <a:gd name="connsiteY10" fmla="*/ 301293 h 461731"/>
                <a:gd name="connsiteX11" fmla="*/ 153133 w 450425"/>
                <a:gd name="connsiteY11" fmla="*/ 382451 h 461731"/>
                <a:gd name="connsiteX12" fmla="*/ 220771 w 450425"/>
                <a:gd name="connsiteY12" fmla="*/ 360183 h 461731"/>
                <a:gd name="connsiteX13" fmla="*/ 198054 w 450425"/>
                <a:gd name="connsiteY13" fmla="*/ 348207 h 461731"/>
                <a:gd name="connsiteX14" fmla="*/ 127997 w 450425"/>
                <a:gd name="connsiteY14" fmla="*/ 301293 h 461731"/>
                <a:gd name="connsiteX15" fmla="*/ 74947 w 450425"/>
                <a:gd name="connsiteY15" fmla="*/ 251484 h 461731"/>
                <a:gd name="connsiteX16" fmla="*/ 71332 w 450425"/>
                <a:gd name="connsiteY16" fmla="*/ 256037 h 461731"/>
                <a:gd name="connsiteX17" fmla="*/ 58880 w 450425"/>
                <a:gd name="connsiteY17" fmla="*/ 273532 h 461731"/>
                <a:gd name="connsiteX18" fmla="*/ 65959 w 450425"/>
                <a:gd name="connsiteY18" fmla="*/ 291448 h 461731"/>
                <a:gd name="connsiteX19" fmla="*/ 35725 w 450425"/>
                <a:gd name="connsiteY19" fmla="*/ 326943 h 461731"/>
                <a:gd name="connsiteX20" fmla="*/ 34889 w 450425"/>
                <a:gd name="connsiteY20" fmla="*/ 332976 h 461731"/>
                <a:gd name="connsiteX21" fmla="*/ 46273 w 450425"/>
                <a:gd name="connsiteY21" fmla="*/ 370076 h 461731"/>
                <a:gd name="connsiteX22" fmla="*/ 104546 w 450425"/>
                <a:gd name="connsiteY22" fmla="*/ 388265 h 461731"/>
                <a:gd name="connsiteX23" fmla="*/ 140128 w 450425"/>
                <a:gd name="connsiteY23" fmla="*/ 385011 h 461731"/>
                <a:gd name="connsiteX24" fmla="*/ 113345 w 450425"/>
                <a:gd name="connsiteY24" fmla="*/ 289098 h 461731"/>
                <a:gd name="connsiteX25" fmla="*/ 74947 w 450425"/>
                <a:gd name="connsiteY25" fmla="*/ 251484 h 461731"/>
                <a:gd name="connsiteX26" fmla="*/ 396929 w 450425"/>
                <a:gd name="connsiteY26" fmla="*/ 250905 h 461731"/>
                <a:gd name="connsiteX27" fmla="*/ 352240 w 450425"/>
                <a:gd name="connsiteY27" fmla="*/ 294140 h 461731"/>
                <a:gd name="connsiteX28" fmla="*/ 326757 w 450425"/>
                <a:gd name="connsiteY28" fmla="*/ 383699 h 461731"/>
                <a:gd name="connsiteX29" fmla="*/ 351919 w 450425"/>
                <a:gd name="connsiteY29" fmla="*/ 387120 h 461731"/>
                <a:gd name="connsiteX30" fmla="*/ 372987 w 450425"/>
                <a:gd name="connsiteY30" fmla="*/ 358451 h 461731"/>
                <a:gd name="connsiteX31" fmla="*/ 415466 w 450425"/>
                <a:gd name="connsiteY31" fmla="*/ 377408 h 461731"/>
                <a:gd name="connsiteX32" fmla="*/ 434878 w 450425"/>
                <a:gd name="connsiteY32" fmla="*/ 355051 h 461731"/>
                <a:gd name="connsiteX33" fmla="*/ 434890 w 450425"/>
                <a:gd name="connsiteY33" fmla="*/ 355038 h 461731"/>
                <a:gd name="connsiteX34" fmla="*/ 401727 w 450425"/>
                <a:gd name="connsiteY34" fmla="*/ 256976 h 461731"/>
                <a:gd name="connsiteX35" fmla="*/ 396929 w 450425"/>
                <a:gd name="connsiteY35" fmla="*/ 250905 h 461731"/>
                <a:gd name="connsiteX36" fmla="*/ 111416 w 450425"/>
                <a:gd name="connsiteY36" fmla="*/ 212648 h 461731"/>
                <a:gd name="connsiteX37" fmla="*/ 83244 w 450425"/>
                <a:gd name="connsiteY37" fmla="*/ 241527 h 461731"/>
                <a:gd name="connsiteX38" fmla="*/ 111454 w 450425"/>
                <a:gd name="connsiteY38" fmla="*/ 270278 h 461731"/>
                <a:gd name="connsiteX39" fmla="*/ 110387 w 450425"/>
                <a:gd name="connsiteY39" fmla="*/ 241231 h 461731"/>
                <a:gd name="connsiteX40" fmla="*/ 111416 w 450425"/>
                <a:gd name="connsiteY40" fmla="*/ 212648 h 461731"/>
                <a:gd name="connsiteX41" fmla="*/ 354363 w 450425"/>
                <a:gd name="connsiteY41" fmla="*/ 206730 h 461731"/>
                <a:gd name="connsiteX42" fmla="*/ 355868 w 450425"/>
                <a:gd name="connsiteY42" fmla="*/ 241218 h 461731"/>
                <a:gd name="connsiteX43" fmla="*/ 354401 w 450425"/>
                <a:gd name="connsiteY43" fmla="*/ 275269 h 461731"/>
                <a:gd name="connsiteX44" fmla="*/ 388593 w 450425"/>
                <a:gd name="connsiteY44" fmla="*/ 240910 h 461731"/>
                <a:gd name="connsiteX45" fmla="*/ 388529 w 450425"/>
                <a:gd name="connsiteY45" fmla="*/ 240922 h 461731"/>
                <a:gd name="connsiteX46" fmla="*/ 354363 w 450425"/>
                <a:gd name="connsiteY46" fmla="*/ 206730 h 461731"/>
                <a:gd name="connsiteX47" fmla="*/ 276240 w 450425"/>
                <a:gd name="connsiteY47" fmla="*/ 168435 h 461731"/>
                <a:gd name="connsiteX48" fmla="*/ 249548 w 450425"/>
                <a:gd name="connsiteY48" fmla="*/ 225036 h 461731"/>
                <a:gd name="connsiteX49" fmla="*/ 267043 w 450425"/>
                <a:gd name="connsiteY49" fmla="*/ 226451 h 461731"/>
                <a:gd name="connsiteX50" fmla="*/ 269724 w 450425"/>
                <a:gd name="connsiteY50" fmla="*/ 227677 h 461731"/>
                <a:gd name="connsiteX51" fmla="*/ 269770 w 450425"/>
                <a:gd name="connsiteY51" fmla="*/ 233771 h 461731"/>
                <a:gd name="connsiteX52" fmla="*/ 194259 w 450425"/>
                <a:gd name="connsiteY52" fmla="*/ 310517 h 461731"/>
                <a:gd name="connsiteX53" fmla="*/ 220797 w 450425"/>
                <a:gd name="connsiteY53" fmla="*/ 254031 h 461731"/>
                <a:gd name="connsiteX54" fmla="*/ 203650 w 450425"/>
                <a:gd name="connsiteY54" fmla="*/ 252951 h 461731"/>
                <a:gd name="connsiteX55" fmla="*/ 200907 w 450425"/>
                <a:gd name="connsiteY55" fmla="*/ 251730 h 461731"/>
                <a:gd name="connsiteX56" fmla="*/ 200832 w 450425"/>
                <a:gd name="connsiteY56" fmla="*/ 245618 h 461731"/>
                <a:gd name="connsiteX57" fmla="*/ 235732 w 450425"/>
                <a:gd name="connsiteY57" fmla="*/ 129135 h 461731"/>
                <a:gd name="connsiteX58" fmla="*/ 163694 w 450425"/>
                <a:gd name="connsiteY58" fmla="*/ 170814 h 461731"/>
                <a:gd name="connsiteX59" fmla="*/ 125425 w 450425"/>
                <a:gd name="connsiteY59" fmla="*/ 200182 h 461731"/>
                <a:gd name="connsiteX60" fmla="*/ 125425 w 450425"/>
                <a:gd name="connsiteY60" fmla="*/ 282601 h 461731"/>
                <a:gd name="connsiteX61" fmla="*/ 204293 w 450425"/>
                <a:gd name="connsiteY61" fmla="*/ 336938 h 461731"/>
                <a:gd name="connsiteX62" fmla="*/ 236028 w 450425"/>
                <a:gd name="connsiteY62" fmla="*/ 353237 h 461731"/>
                <a:gd name="connsiteX63" fmla="*/ 308066 w 450425"/>
                <a:gd name="connsiteY63" fmla="*/ 311571 h 461731"/>
                <a:gd name="connsiteX64" fmla="*/ 308078 w 450425"/>
                <a:gd name="connsiteY64" fmla="*/ 311609 h 461731"/>
                <a:gd name="connsiteX65" fmla="*/ 340200 w 450425"/>
                <a:gd name="connsiteY65" fmla="*/ 287348 h 461731"/>
                <a:gd name="connsiteX66" fmla="*/ 342978 w 450425"/>
                <a:gd name="connsiteY66" fmla="*/ 241193 h 461731"/>
                <a:gd name="connsiteX67" fmla="*/ 340161 w 450425"/>
                <a:gd name="connsiteY67" fmla="*/ 194651 h 461731"/>
                <a:gd name="connsiteX68" fmla="*/ 267467 w 450425"/>
                <a:gd name="connsiteY68" fmla="*/ 145434 h 461731"/>
                <a:gd name="connsiteX69" fmla="*/ 235732 w 450425"/>
                <a:gd name="connsiteY69" fmla="*/ 129135 h 461731"/>
                <a:gd name="connsiteX70" fmla="*/ 313571 w 450425"/>
                <a:gd name="connsiteY70" fmla="*/ 101182 h 461731"/>
                <a:gd name="connsiteX71" fmla="*/ 250963 w 450425"/>
                <a:gd name="connsiteY71" fmla="*/ 122292 h 461731"/>
                <a:gd name="connsiteX72" fmla="*/ 273668 w 450425"/>
                <a:gd name="connsiteY72" fmla="*/ 134268 h 461731"/>
                <a:gd name="connsiteX73" fmla="*/ 337279 w 450425"/>
                <a:gd name="connsiteY73" fmla="*/ 176153 h 461731"/>
                <a:gd name="connsiteX74" fmla="*/ 313571 w 450425"/>
                <a:gd name="connsiteY74" fmla="*/ 101182 h 461731"/>
                <a:gd name="connsiteX75" fmla="*/ 152940 w 450425"/>
                <a:gd name="connsiteY75" fmla="*/ 100397 h 461731"/>
                <a:gd name="connsiteX76" fmla="*/ 127946 w 450425"/>
                <a:gd name="connsiteY76" fmla="*/ 181414 h 461731"/>
                <a:gd name="connsiteX77" fmla="*/ 156362 w 450425"/>
                <a:gd name="connsiteY77" fmla="*/ 160240 h 461731"/>
                <a:gd name="connsiteX78" fmla="*/ 220308 w 450425"/>
                <a:gd name="connsiteY78" fmla="*/ 122266 h 461731"/>
                <a:gd name="connsiteX79" fmla="*/ 152940 w 450425"/>
                <a:gd name="connsiteY79" fmla="*/ 100397 h 461731"/>
                <a:gd name="connsiteX80" fmla="*/ 104765 w 450425"/>
                <a:gd name="connsiteY80" fmla="*/ 81873 h 461731"/>
                <a:gd name="connsiteX81" fmla="*/ 104765 w 450425"/>
                <a:gd name="connsiteY81" fmla="*/ 81876 h 461731"/>
                <a:gd name="connsiteX82" fmla="*/ 104757 w 450425"/>
                <a:gd name="connsiteY82" fmla="*/ 81875 h 461731"/>
                <a:gd name="connsiteX83" fmla="*/ 104739 w 450425"/>
                <a:gd name="connsiteY83" fmla="*/ 81873 h 461731"/>
                <a:gd name="connsiteX84" fmla="*/ 104757 w 450425"/>
                <a:gd name="connsiteY84" fmla="*/ 81875 h 461731"/>
                <a:gd name="connsiteX85" fmla="*/ 104739 w 450425"/>
                <a:gd name="connsiteY85" fmla="*/ 81878 h 461731"/>
                <a:gd name="connsiteX86" fmla="*/ 230895 w 450425"/>
                <a:gd name="connsiteY86" fmla="*/ 33660 h 461731"/>
                <a:gd name="connsiteX87" fmla="*/ 225437 w 450425"/>
                <a:gd name="connsiteY87" fmla="*/ 51109 h 461731"/>
                <a:gd name="connsiteX88" fmla="*/ 179736 w 450425"/>
                <a:gd name="connsiteY88" fmla="*/ 60442 h 461731"/>
                <a:gd name="connsiteX89" fmla="*/ 159256 w 450425"/>
                <a:gd name="connsiteY89" fmla="*/ 88678 h 461731"/>
                <a:gd name="connsiteX90" fmla="*/ 235655 w 450425"/>
                <a:gd name="connsiteY90" fmla="*/ 114972 h 461731"/>
                <a:gd name="connsiteX91" fmla="*/ 307384 w 450425"/>
                <a:gd name="connsiteY91" fmla="*/ 89463 h 461731"/>
                <a:gd name="connsiteX92" fmla="*/ 233095 w 450425"/>
                <a:gd name="connsiteY92" fmla="*/ 33660 h 461731"/>
                <a:gd name="connsiteX93" fmla="*/ 230895 w 450425"/>
                <a:gd name="connsiteY93" fmla="*/ 33660 h 461731"/>
                <a:gd name="connsiteX94" fmla="*/ 185852 w 450425"/>
                <a:gd name="connsiteY94" fmla="*/ 2306 h 461731"/>
                <a:gd name="connsiteX95" fmla="*/ 228631 w 450425"/>
                <a:gd name="connsiteY95" fmla="*/ 20899 h 461731"/>
                <a:gd name="connsiteX96" fmla="*/ 233082 w 450425"/>
                <a:gd name="connsiteY96" fmla="*/ 20744 h 461731"/>
                <a:gd name="connsiteX97" fmla="*/ 320544 w 450425"/>
                <a:gd name="connsiteY97" fmla="*/ 86479 h 461731"/>
                <a:gd name="connsiteX98" fmla="*/ 367291 w 450425"/>
                <a:gd name="connsiteY98" fmla="*/ 81333 h 461731"/>
                <a:gd name="connsiteX99" fmla="*/ 367291 w 450425"/>
                <a:gd name="connsiteY99" fmla="*/ 94197 h 461731"/>
                <a:gd name="connsiteX100" fmla="*/ 326615 w 450425"/>
                <a:gd name="connsiteY100" fmla="*/ 98365 h 461731"/>
                <a:gd name="connsiteX101" fmla="*/ 352253 w 450425"/>
                <a:gd name="connsiteY101" fmla="*/ 188013 h 461731"/>
                <a:gd name="connsiteX102" fmla="*/ 396942 w 450425"/>
                <a:gd name="connsiteY102" fmla="*/ 230979 h 461731"/>
                <a:gd name="connsiteX103" fmla="*/ 400557 w 450425"/>
                <a:gd name="connsiteY103" fmla="*/ 226425 h 461731"/>
                <a:gd name="connsiteX104" fmla="*/ 436949 w 450425"/>
                <a:gd name="connsiteY104" fmla="*/ 149473 h 461731"/>
                <a:gd name="connsiteX105" fmla="*/ 425564 w 450425"/>
                <a:gd name="connsiteY105" fmla="*/ 112374 h 461731"/>
                <a:gd name="connsiteX106" fmla="*/ 367304 w 450425"/>
                <a:gd name="connsiteY106" fmla="*/ 94197 h 461731"/>
                <a:gd name="connsiteX107" fmla="*/ 367304 w 450425"/>
                <a:gd name="connsiteY107" fmla="*/ 81333 h 461731"/>
                <a:gd name="connsiteX108" fmla="*/ 434736 w 450425"/>
                <a:gd name="connsiteY108" fmla="*/ 103369 h 461731"/>
                <a:gd name="connsiteX109" fmla="*/ 405458 w 450425"/>
                <a:gd name="connsiteY109" fmla="*/ 240910 h 461731"/>
                <a:gd name="connsiteX110" fmla="*/ 447008 w 450425"/>
                <a:gd name="connsiteY110" fmla="*/ 359347 h 461731"/>
                <a:gd name="connsiteX111" fmla="*/ 417588 w 450425"/>
                <a:gd name="connsiteY111" fmla="*/ 390799 h 461731"/>
                <a:gd name="connsiteX112" fmla="*/ 395688 w 450425"/>
                <a:gd name="connsiteY112" fmla="*/ 420201 h 461731"/>
                <a:gd name="connsiteX113" fmla="*/ 353719 w 450425"/>
                <a:gd name="connsiteY113" fmla="*/ 400139 h 461731"/>
                <a:gd name="connsiteX114" fmla="*/ 320685 w 450425"/>
                <a:gd name="connsiteY114" fmla="*/ 395611 h 461731"/>
                <a:gd name="connsiteX115" fmla="*/ 233082 w 450425"/>
                <a:gd name="connsiteY115" fmla="*/ 461731 h 461731"/>
                <a:gd name="connsiteX116" fmla="*/ 146213 w 450425"/>
                <a:gd name="connsiteY116" fmla="*/ 396974 h 461731"/>
                <a:gd name="connsiteX117" fmla="*/ 104521 w 450425"/>
                <a:gd name="connsiteY117" fmla="*/ 401129 h 461731"/>
                <a:gd name="connsiteX118" fmla="*/ 37076 w 450425"/>
                <a:gd name="connsiteY118" fmla="*/ 379093 h 461731"/>
                <a:gd name="connsiteX119" fmla="*/ 22925 w 450425"/>
                <a:gd name="connsiteY119" fmla="*/ 325477 h 461731"/>
                <a:gd name="connsiteX120" fmla="*/ 17055 w 450425"/>
                <a:gd name="connsiteY120" fmla="*/ 322944 h 461731"/>
                <a:gd name="connsiteX121" fmla="*/ 4116 w 450425"/>
                <a:gd name="connsiteY121" fmla="*/ 278111 h 461731"/>
                <a:gd name="connsiteX122" fmla="*/ 48949 w 450425"/>
                <a:gd name="connsiteY122" fmla="*/ 265171 h 461731"/>
                <a:gd name="connsiteX123" fmla="*/ 66392 w 450425"/>
                <a:gd name="connsiteY123" fmla="*/ 241553 h 461731"/>
                <a:gd name="connsiteX124" fmla="*/ 24765 w 450425"/>
                <a:gd name="connsiteY124" fmla="*/ 123128 h 461731"/>
                <a:gd name="connsiteX125" fmla="*/ 53188 w 450425"/>
                <a:gd name="connsiteY125" fmla="*/ 92139 h 461731"/>
                <a:gd name="connsiteX126" fmla="*/ 104739 w 450425"/>
                <a:gd name="connsiteY126" fmla="*/ 81878 h 461731"/>
                <a:gd name="connsiteX127" fmla="*/ 104739 w 450425"/>
                <a:gd name="connsiteY127" fmla="*/ 94737 h 461731"/>
                <a:gd name="connsiteX128" fmla="*/ 104757 w 450425"/>
                <a:gd name="connsiteY128" fmla="*/ 94739 h 461731"/>
                <a:gd name="connsiteX129" fmla="*/ 58944 w 450425"/>
                <a:gd name="connsiteY129" fmla="*/ 103639 h 461731"/>
                <a:gd name="connsiteX130" fmla="*/ 36895 w 450425"/>
                <a:gd name="connsiteY130" fmla="*/ 127411 h 461731"/>
                <a:gd name="connsiteX131" fmla="*/ 70046 w 450425"/>
                <a:gd name="connsiteY131" fmla="*/ 225511 h 461731"/>
                <a:gd name="connsiteX132" fmla="*/ 74857 w 450425"/>
                <a:gd name="connsiteY132" fmla="*/ 231583 h 461731"/>
                <a:gd name="connsiteX133" fmla="*/ 113242 w 450425"/>
                <a:gd name="connsiteY133" fmla="*/ 193712 h 461731"/>
                <a:gd name="connsiteX134" fmla="*/ 139858 w 450425"/>
                <a:gd name="connsiteY134" fmla="*/ 97889 h 461731"/>
                <a:gd name="connsiteX135" fmla="*/ 104757 w 450425"/>
                <a:gd name="connsiteY135" fmla="*/ 94739 h 461731"/>
                <a:gd name="connsiteX136" fmla="*/ 104765 w 450425"/>
                <a:gd name="connsiteY136" fmla="*/ 94737 h 461731"/>
                <a:gd name="connsiteX137" fmla="*/ 104765 w 450425"/>
                <a:gd name="connsiteY137" fmla="*/ 81876 h 461731"/>
                <a:gd name="connsiteX138" fmla="*/ 146007 w 450425"/>
                <a:gd name="connsiteY138" fmla="*/ 85887 h 461731"/>
                <a:gd name="connsiteX139" fmla="*/ 170602 w 450425"/>
                <a:gd name="connsiteY139" fmla="*/ 51437 h 461731"/>
                <a:gd name="connsiteX140" fmla="*/ 167259 w 450425"/>
                <a:gd name="connsiteY140" fmla="*/ 45085 h 461731"/>
                <a:gd name="connsiteX141" fmla="*/ 185852 w 450425"/>
                <a:gd name="connsiteY141" fmla="*/ 2306 h 461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</a:cxnLst>
              <a:rect l="l" t="t" r="r" b="b"/>
              <a:pathLst>
                <a:path w="450425" h="461731">
                  <a:moveTo>
                    <a:pt x="236131" y="367503"/>
                  </a:moveTo>
                  <a:cubicBezTo>
                    <a:pt x="211526" y="378948"/>
                    <a:pt x="185838" y="387899"/>
                    <a:pt x="159449" y="394221"/>
                  </a:cubicBezTo>
                  <a:cubicBezTo>
                    <a:pt x="179980" y="429494"/>
                    <a:pt x="206068" y="448867"/>
                    <a:pt x="233082" y="448867"/>
                  </a:cubicBezTo>
                  <a:cubicBezTo>
                    <a:pt x="260534" y="448867"/>
                    <a:pt x="286943" y="428915"/>
                    <a:pt x="307590" y="392690"/>
                  </a:cubicBezTo>
                  <a:cubicBezTo>
                    <a:pt x="283045" y="386513"/>
                    <a:pt x="259124" y="378081"/>
                    <a:pt x="236131" y="367503"/>
                  </a:cubicBezTo>
                  <a:close/>
                  <a:moveTo>
                    <a:pt x="337382" y="306065"/>
                  </a:moveTo>
                  <a:cubicBezTo>
                    <a:pt x="330333" y="311519"/>
                    <a:pt x="323013" y="316909"/>
                    <a:pt x="315411" y="322171"/>
                  </a:cubicBezTo>
                  <a:cubicBezTo>
                    <a:pt x="295022" y="336314"/>
                    <a:pt x="273652" y="348992"/>
                    <a:pt x="251465" y="360106"/>
                  </a:cubicBezTo>
                  <a:cubicBezTo>
                    <a:pt x="271615" y="368803"/>
                    <a:pt x="292469" y="375767"/>
                    <a:pt x="313803" y="380920"/>
                  </a:cubicBezTo>
                  <a:cubicBezTo>
                    <a:pt x="324518" y="358961"/>
                    <a:pt x="332520" y="333542"/>
                    <a:pt x="337382" y="306065"/>
                  </a:cubicBezTo>
                  <a:close/>
                  <a:moveTo>
                    <a:pt x="127997" y="301293"/>
                  </a:moveTo>
                  <a:cubicBezTo>
                    <a:pt x="132860" y="331240"/>
                    <a:pt x="141376" y="358884"/>
                    <a:pt x="153133" y="382451"/>
                  </a:cubicBezTo>
                  <a:cubicBezTo>
                    <a:pt x="176326" y="377159"/>
                    <a:pt x="198971" y="369704"/>
                    <a:pt x="220771" y="360183"/>
                  </a:cubicBezTo>
                  <a:cubicBezTo>
                    <a:pt x="213224" y="356488"/>
                    <a:pt x="205653" y="352495"/>
                    <a:pt x="198054" y="348207"/>
                  </a:cubicBezTo>
                  <a:cubicBezTo>
                    <a:pt x="173475" y="334484"/>
                    <a:pt x="150046" y="318795"/>
                    <a:pt x="127997" y="301293"/>
                  </a:cubicBezTo>
                  <a:close/>
                  <a:moveTo>
                    <a:pt x="74947" y="251484"/>
                  </a:moveTo>
                  <a:cubicBezTo>
                    <a:pt x="73721" y="252993"/>
                    <a:pt x="72515" y="254510"/>
                    <a:pt x="71332" y="256037"/>
                  </a:cubicBezTo>
                  <a:cubicBezTo>
                    <a:pt x="66769" y="261955"/>
                    <a:pt x="62619" y="267786"/>
                    <a:pt x="58880" y="273532"/>
                  </a:cubicBezTo>
                  <a:cubicBezTo>
                    <a:pt x="62970" y="278666"/>
                    <a:pt x="65435" y="284904"/>
                    <a:pt x="65959" y="291448"/>
                  </a:cubicBezTo>
                  <a:cubicBezTo>
                    <a:pt x="67412" y="309599"/>
                    <a:pt x="53876" y="325491"/>
                    <a:pt x="35725" y="326943"/>
                  </a:cubicBezTo>
                  <a:cubicBezTo>
                    <a:pt x="35377" y="328988"/>
                    <a:pt x="35082" y="331008"/>
                    <a:pt x="34889" y="332976"/>
                  </a:cubicBezTo>
                  <a:cubicBezTo>
                    <a:pt x="33409" y="348426"/>
                    <a:pt x="37268" y="360904"/>
                    <a:pt x="46273" y="370076"/>
                  </a:cubicBezTo>
                  <a:cubicBezTo>
                    <a:pt x="57954" y="381975"/>
                    <a:pt x="78111" y="388265"/>
                    <a:pt x="104546" y="388265"/>
                  </a:cubicBezTo>
                  <a:cubicBezTo>
                    <a:pt x="116478" y="388184"/>
                    <a:pt x="128381" y="387096"/>
                    <a:pt x="140128" y="385011"/>
                  </a:cubicBezTo>
                  <a:cubicBezTo>
                    <a:pt x="127161" y="357958"/>
                    <a:pt x="117796" y="325194"/>
                    <a:pt x="113345" y="289098"/>
                  </a:cubicBezTo>
                  <a:cubicBezTo>
                    <a:pt x="99744" y="277406"/>
                    <a:pt x="86918" y="264840"/>
                    <a:pt x="74947" y="251484"/>
                  </a:cubicBezTo>
                  <a:close/>
                  <a:moveTo>
                    <a:pt x="396929" y="250905"/>
                  </a:moveTo>
                  <a:cubicBezTo>
                    <a:pt x="383121" y="266401"/>
                    <a:pt x="368184" y="280852"/>
                    <a:pt x="352240" y="294140"/>
                  </a:cubicBezTo>
                  <a:cubicBezTo>
                    <a:pt x="347648" y="327664"/>
                    <a:pt x="338785" y="358164"/>
                    <a:pt x="326757" y="383699"/>
                  </a:cubicBezTo>
                  <a:cubicBezTo>
                    <a:pt x="335080" y="385273"/>
                    <a:pt x="343477" y="386415"/>
                    <a:pt x="351919" y="387120"/>
                  </a:cubicBezTo>
                  <a:cubicBezTo>
                    <a:pt x="352721" y="374263"/>
                    <a:pt x="360955" y="363057"/>
                    <a:pt x="372987" y="358451"/>
                  </a:cubicBezTo>
                  <a:cubicBezTo>
                    <a:pt x="389952" y="351956"/>
                    <a:pt x="408971" y="360443"/>
                    <a:pt x="415466" y="377408"/>
                  </a:cubicBezTo>
                  <a:cubicBezTo>
                    <a:pt x="425011" y="371980"/>
                    <a:pt x="431546" y="364467"/>
                    <a:pt x="434878" y="355051"/>
                  </a:cubicBezTo>
                  <a:lnTo>
                    <a:pt x="434890" y="355038"/>
                  </a:lnTo>
                  <a:cubicBezTo>
                    <a:pt x="443368" y="331072"/>
                    <a:pt x="431276" y="295311"/>
                    <a:pt x="401727" y="256976"/>
                  </a:cubicBezTo>
                  <a:cubicBezTo>
                    <a:pt x="400171" y="254944"/>
                    <a:pt x="398563" y="252924"/>
                    <a:pt x="396929" y="250905"/>
                  </a:cubicBezTo>
                  <a:close/>
                  <a:moveTo>
                    <a:pt x="111416" y="212648"/>
                  </a:moveTo>
                  <a:cubicBezTo>
                    <a:pt x="101522" y="221771"/>
                    <a:pt x="92119" y="231411"/>
                    <a:pt x="83244" y="241527"/>
                  </a:cubicBezTo>
                  <a:cubicBezTo>
                    <a:pt x="92138" y="251597"/>
                    <a:pt x="101554" y="261195"/>
                    <a:pt x="111454" y="270278"/>
                  </a:cubicBezTo>
                  <a:cubicBezTo>
                    <a:pt x="110760" y="260771"/>
                    <a:pt x="110387" y="250918"/>
                    <a:pt x="110387" y="241231"/>
                  </a:cubicBezTo>
                  <a:cubicBezTo>
                    <a:pt x="110387" y="231545"/>
                    <a:pt x="110734" y="222000"/>
                    <a:pt x="111416" y="212648"/>
                  </a:cubicBezTo>
                  <a:close/>
                  <a:moveTo>
                    <a:pt x="354363" y="206730"/>
                  </a:moveTo>
                  <a:cubicBezTo>
                    <a:pt x="355353" y="217960"/>
                    <a:pt x="355868" y="229641"/>
                    <a:pt x="355868" y="241218"/>
                  </a:cubicBezTo>
                  <a:cubicBezTo>
                    <a:pt x="355868" y="252796"/>
                    <a:pt x="355366" y="264167"/>
                    <a:pt x="354401" y="275269"/>
                  </a:cubicBezTo>
                  <a:cubicBezTo>
                    <a:pt x="366498" y="264534"/>
                    <a:pt x="377918" y="253059"/>
                    <a:pt x="388593" y="240910"/>
                  </a:cubicBezTo>
                  <a:lnTo>
                    <a:pt x="388529" y="240922"/>
                  </a:lnTo>
                  <a:cubicBezTo>
                    <a:pt x="377857" y="228830"/>
                    <a:pt x="366447" y="217411"/>
                    <a:pt x="354363" y="206730"/>
                  </a:cubicBezTo>
                  <a:close/>
                  <a:moveTo>
                    <a:pt x="276240" y="168435"/>
                  </a:moveTo>
                  <a:lnTo>
                    <a:pt x="249548" y="225036"/>
                  </a:lnTo>
                  <a:lnTo>
                    <a:pt x="267043" y="226451"/>
                  </a:lnTo>
                  <a:cubicBezTo>
                    <a:pt x="268053" y="226532"/>
                    <a:pt x="269002" y="226966"/>
                    <a:pt x="269724" y="227677"/>
                  </a:cubicBezTo>
                  <a:cubicBezTo>
                    <a:pt x="271419" y="229347"/>
                    <a:pt x="271440" y="232075"/>
                    <a:pt x="269770" y="233771"/>
                  </a:cubicBezTo>
                  <a:lnTo>
                    <a:pt x="194259" y="310517"/>
                  </a:lnTo>
                  <a:lnTo>
                    <a:pt x="220797" y="254031"/>
                  </a:lnTo>
                  <a:lnTo>
                    <a:pt x="203650" y="252951"/>
                  </a:lnTo>
                  <a:cubicBezTo>
                    <a:pt x="202619" y="252885"/>
                    <a:pt x="201645" y="252452"/>
                    <a:pt x="200907" y="251730"/>
                  </a:cubicBezTo>
                  <a:cubicBezTo>
                    <a:pt x="199199" y="250063"/>
                    <a:pt x="199165" y="247327"/>
                    <a:pt x="200832" y="245618"/>
                  </a:cubicBezTo>
                  <a:close/>
                  <a:moveTo>
                    <a:pt x="235732" y="129135"/>
                  </a:moveTo>
                  <a:cubicBezTo>
                    <a:pt x="210619" y="141034"/>
                    <a:pt x="186527" y="154974"/>
                    <a:pt x="163694" y="170814"/>
                  </a:cubicBezTo>
                  <a:cubicBezTo>
                    <a:pt x="150162" y="180192"/>
                    <a:pt x="137362" y="190046"/>
                    <a:pt x="125425" y="200182"/>
                  </a:cubicBezTo>
                  <a:cubicBezTo>
                    <a:pt x="122492" y="227577"/>
                    <a:pt x="122492" y="255206"/>
                    <a:pt x="125425" y="282601"/>
                  </a:cubicBezTo>
                  <a:cubicBezTo>
                    <a:pt x="149931" y="303175"/>
                    <a:pt x="176340" y="321368"/>
                    <a:pt x="204293" y="336938"/>
                  </a:cubicBezTo>
                  <a:cubicBezTo>
                    <a:pt x="214841" y="342856"/>
                    <a:pt x="225454" y="348284"/>
                    <a:pt x="236028" y="353237"/>
                  </a:cubicBezTo>
                  <a:cubicBezTo>
                    <a:pt x="261140" y="341343"/>
                    <a:pt x="285234" y="327408"/>
                    <a:pt x="308066" y="311571"/>
                  </a:cubicBezTo>
                  <a:lnTo>
                    <a:pt x="308078" y="311609"/>
                  </a:lnTo>
                  <a:cubicBezTo>
                    <a:pt x="319270" y="303827"/>
                    <a:pt x="330024" y="295787"/>
                    <a:pt x="340200" y="287348"/>
                  </a:cubicBezTo>
                  <a:cubicBezTo>
                    <a:pt x="342058" y="272034"/>
                    <a:pt x="342986" y="256620"/>
                    <a:pt x="342978" y="241193"/>
                  </a:cubicBezTo>
                  <a:cubicBezTo>
                    <a:pt x="342987" y="225636"/>
                    <a:pt x="342045" y="210093"/>
                    <a:pt x="340161" y="194651"/>
                  </a:cubicBezTo>
                  <a:cubicBezTo>
                    <a:pt x="317393" y="176182"/>
                    <a:pt x="293071" y="159715"/>
                    <a:pt x="267467" y="145434"/>
                  </a:cubicBezTo>
                  <a:cubicBezTo>
                    <a:pt x="256919" y="139529"/>
                    <a:pt x="246306" y="134088"/>
                    <a:pt x="235732" y="129135"/>
                  </a:cubicBezTo>
                  <a:close/>
                  <a:moveTo>
                    <a:pt x="313571" y="101182"/>
                  </a:moveTo>
                  <a:cubicBezTo>
                    <a:pt x="292138" y="106418"/>
                    <a:pt x="271191" y="113480"/>
                    <a:pt x="250963" y="122292"/>
                  </a:cubicBezTo>
                  <a:cubicBezTo>
                    <a:pt x="258501" y="126031"/>
                    <a:pt x="266069" y="130023"/>
                    <a:pt x="273668" y="134268"/>
                  </a:cubicBezTo>
                  <a:cubicBezTo>
                    <a:pt x="295859" y="146670"/>
                    <a:pt x="317118" y="160668"/>
                    <a:pt x="337279" y="176153"/>
                  </a:cubicBezTo>
                  <a:cubicBezTo>
                    <a:pt x="332443" y="148598"/>
                    <a:pt x="324416" y="123128"/>
                    <a:pt x="313571" y="101182"/>
                  </a:cubicBezTo>
                  <a:close/>
                  <a:moveTo>
                    <a:pt x="152940" y="100397"/>
                  </a:moveTo>
                  <a:cubicBezTo>
                    <a:pt x="141234" y="123951"/>
                    <a:pt x="132744" y="151570"/>
                    <a:pt x="127946" y="181414"/>
                  </a:cubicBezTo>
                  <a:cubicBezTo>
                    <a:pt x="136938" y="174223"/>
                    <a:pt x="146418" y="167135"/>
                    <a:pt x="156362" y="160240"/>
                  </a:cubicBezTo>
                  <a:cubicBezTo>
                    <a:pt x="176753" y="146086"/>
                    <a:pt x="198122" y="133396"/>
                    <a:pt x="220308" y="122266"/>
                  </a:cubicBezTo>
                  <a:cubicBezTo>
                    <a:pt x="198583" y="112895"/>
                    <a:pt x="176028" y="105574"/>
                    <a:pt x="152940" y="100397"/>
                  </a:cubicBezTo>
                  <a:close/>
                  <a:moveTo>
                    <a:pt x="104765" y="81873"/>
                  </a:moveTo>
                  <a:lnTo>
                    <a:pt x="104765" y="81876"/>
                  </a:lnTo>
                  <a:lnTo>
                    <a:pt x="104757" y="81875"/>
                  </a:lnTo>
                  <a:close/>
                  <a:moveTo>
                    <a:pt x="104739" y="81873"/>
                  </a:moveTo>
                  <a:lnTo>
                    <a:pt x="104757" y="81875"/>
                  </a:lnTo>
                  <a:lnTo>
                    <a:pt x="104739" y="81878"/>
                  </a:lnTo>
                  <a:close/>
                  <a:moveTo>
                    <a:pt x="230895" y="33660"/>
                  </a:moveTo>
                  <a:cubicBezTo>
                    <a:pt x="230756" y="39874"/>
                    <a:pt x="228865" y="45924"/>
                    <a:pt x="225437" y="51109"/>
                  </a:cubicBezTo>
                  <a:cubicBezTo>
                    <a:pt x="215394" y="66307"/>
                    <a:pt x="194933" y="70485"/>
                    <a:pt x="179736" y="60442"/>
                  </a:cubicBezTo>
                  <a:cubicBezTo>
                    <a:pt x="171872" y="69057"/>
                    <a:pt x="165003" y="78529"/>
                    <a:pt x="159256" y="88678"/>
                  </a:cubicBezTo>
                  <a:cubicBezTo>
                    <a:pt x="185535" y="94876"/>
                    <a:pt x="211129" y="103684"/>
                    <a:pt x="235655" y="114972"/>
                  </a:cubicBezTo>
                  <a:cubicBezTo>
                    <a:pt x="258728" y="104277"/>
                    <a:pt x="282739" y="95738"/>
                    <a:pt x="307384" y="89463"/>
                  </a:cubicBezTo>
                  <a:cubicBezTo>
                    <a:pt x="286763" y="53457"/>
                    <a:pt x="260444" y="33660"/>
                    <a:pt x="233095" y="33660"/>
                  </a:cubicBezTo>
                  <a:cubicBezTo>
                    <a:pt x="232362" y="33660"/>
                    <a:pt x="231629" y="33660"/>
                    <a:pt x="230895" y="33660"/>
                  </a:cubicBezTo>
                  <a:close/>
                  <a:moveTo>
                    <a:pt x="185852" y="2306"/>
                  </a:moveTo>
                  <a:cubicBezTo>
                    <a:pt x="202799" y="-4373"/>
                    <a:pt x="221952" y="3951"/>
                    <a:pt x="228631" y="20899"/>
                  </a:cubicBezTo>
                  <a:cubicBezTo>
                    <a:pt x="230111" y="20744"/>
                    <a:pt x="231590" y="20744"/>
                    <a:pt x="233082" y="20744"/>
                  </a:cubicBezTo>
                  <a:cubicBezTo>
                    <a:pt x="267300" y="20744"/>
                    <a:pt x="298225" y="45893"/>
                    <a:pt x="320544" y="86479"/>
                  </a:cubicBezTo>
                  <a:cubicBezTo>
                    <a:pt x="335916" y="83214"/>
                    <a:pt x="351576" y="81490"/>
                    <a:pt x="367291" y="81333"/>
                  </a:cubicBezTo>
                  <a:lnTo>
                    <a:pt x="367291" y="94197"/>
                  </a:lnTo>
                  <a:cubicBezTo>
                    <a:pt x="353632" y="94318"/>
                    <a:pt x="340014" y="95714"/>
                    <a:pt x="326615" y="98365"/>
                  </a:cubicBezTo>
                  <a:cubicBezTo>
                    <a:pt x="338707" y="123900"/>
                    <a:pt x="347622" y="154438"/>
                    <a:pt x="352253" y="188013"/>
                  </a:cubicBezTo>
                  <a:cubicBezTo>
                    <a:pt x="368186" y="201215"/>
                    <a:pt x="383124" y="215577"/>
                    <a:pt x="396942" y="230979"/>
                  </a:cubicBezTo>
                  <a:cubicBezTo>
                    <a:pt x="398168" y="229461"/>
                    <a:pt x="399373" y="227943"/>
                    <a:pt x="400557" y="226425"/>
                  </a:cubicBezTo>
                  <a:cubicBezTo>
                    <a:pt x="422258" y="198356"/>
                    <a:pt x="434852" y="171740"/>
                    <a:pt x="436949" y="149473"/>
                  </a:cubicBezTo>
                  <a:cubicBezTo>
                    <a:pt x="438428" y="134024"/>
                    <a:pt x="434569" y="121546"/>
                    <a:pt x="425564" y="112374"/>
                  </a:cubicBezTo>
                  <a:cubicBezTo>
                    <a:pt x="413884" y="100487"/>
                    <a:pt x="393726" y="94197"/>
                    <a:pt x="367304" y="94197"/>
                  </a:cubicBezTo>
                  <a:lnTo>
                    <a:pt x="367304" y="81333"/>
                  </a:lnTo>
                  <a:cubicBezTo>
                    <a:pt x="396415" y="81333"/>
                    <a:pt x="420071" y="88434"/>
                    <a:pt x="434736" y="103369"/>
                  </a:cubicBezTo>
                  <a:cubicBezTo>
                    <a:pt x="463911" y="133059"/>
                    <a:pt x="450147" y="186225"/>
                    <a:pt x="405458" y="240910"/>
                  </a:cubicBezTo>
                  <a:cubicBezTo>
                    <a:pt x="441271" y="284428"/>
                    <a:pt x="458200" y="327805"/>
                    <a:pt x="447008" y="359347"/>
                  </a:cubicBezTo>
                  <a:cubicBezTo>
                    <a:pt x="442030" y="373485"/>
                    <a:pt x="431803" y="383943"/>
                    <a:pt x="417588" y="390799"/>
                  </a:cubicBezTo>
                  <a:cubicBezTo>
                    <a:pt x="416934" y="404137"/>
                    <a:pt x="408280" y="415755"/>
                    <a:pt x="395688" y="420201"/>
                  </a:cubicBezTo>
                  <a:cubicBezTo>
                    <a:pt x="378558" y="426251"/>
                    <a:pt x="359768" y="417268"/>
                    <a:pt x="353719" y="400139"/>
                  </a:cubicBezTo>
                  <a:cubicBezTo>
                    <a:pt x="342622" y="399341"/>
                    <a:pt x="331587" y="397830"/>
                    <a:pt x="320685" y="395611"/>
                  </a:cubicBezTo>
                  <a:cubicBezTo>
                    <a:pt x="298418" y="436402"/>
                    <a:pt x="267390" y="461731"/>
                    <a:pt x="233082" y="461731"/>
                  </a:cubicBezTo>
                  <a:cubicBezTo>
                    <a:pt x="199160" y="461731"/>
                    <a:pt x="168454" y="436968"/>
                    <a:pt x="146213" y="396974"/>
                  </a:cubicBezTo>
                  <a:cubicBezTo>
                    <a:pt x="132470" y="399624"/>
                    <a:pt x="118515" y="401015"/>
                    <a:pt x="104521" y="401129"/>
                  </a:cubicBezTo>
                  <a:cubicBezTo>
                    <a:pt x="75397" y="401129"/>
                    <a:pt x="51740" y="394028"/>
                    <a:pt x="37076" y="379093"/>
                  </a:cubicBezTo>
                  <a:cubicBezTo>
                    <a:pt x="23723" y="365458"/>
                    <a:pt x="19388" y="346882"/>
                    <a:pt x="22925" y="325477"/>
                  </a:cubicBezTo>
                  <a:cubicBezTo>
                    <a:pt x="20891" y="324824"/>
                    <a:pt x="18925" y="323975"/>
                    <a:pt x="17055" y="322944"/>
                  </a:cubicBezTo>
                  <a:cubicBezTo>
                    <a:pt x="1101" y="314136"/>
                    <a:pt x="-4692" y="294063"/>
                    <a:pt x="4116" y="278111"/>
                  </a:cubicBezTo>
                  <a:cubicBezTo>
                    <a:pt x="12923" y="262157"/>
                    <a:pt x="32995" y="256363"/>
                    <a:pt x="48949" y="265171"/>
                  </a:cubicBezTo>
                  <a:cubicBezTo>
                    <a:pt x="54353" y="257004"/>
                    <a:pt x="60175" y="249121"/>
                    <a:pt x="66392" y="241553"/>
                  </a:cubicBezTo>
                  <a:cubicBezTo>
                    <a:pt x="30515" y="198034"/>
                    <a:pt x="13625" y="154644"/>
                    <a:pt x="24765" y="123128"/>
                  </a:cubicBezTo>
                  <a:cubicBezTo>
                    <a:pt x="29653" y="109312"/>
                    <a:pt x="39491" y="98999"/>
                    <a:pt x="53188" y="92139"/>
                  </a:cubicBezTo>
                  <a:lnTo>
                    <a:pt x="104739" y="81878"/>
                  </a:lnTo>
                  <a:lnTo>
                    <a:pt x="104739" y="94737"/>
                  </a:lnTo>
                  <a:lnTo>
                    <a:pt x="104757" y="94739"/>
                  </a:lnTo>
                  <a:lnTo>
                    <a:pt x="58944" y="103639"/>
                  </a:lnTo>
                  <a:cubicBezTo>
                    <a:pt x="47945" y="109145"/>
                    <a:pt x="40523" y="117120"/>
                    <a:pt x="36895" y="127411"/>
                  </a:cubicBezTo>
                  <a:cubicBezTo>
                    <a:pt x="28418" y="151390"/>
                    <a:pt x="40459" y="187138"/>
                    <a:pt x="70046" y="225511"/>
                  </a:cubicBezTo>
                  <a:cubicBezTo>
                    <a:pt x="71624" y="227544"/>
                    <a:pt x="73227" y="229567"/>
                    <a:pt x="74857" y="231583"/>
                  </a:cubicBezTo>
                  <a:cubicBezTo>
                    <a:pt x="86810" y="218133"/>
                    <a:pt x="99632" y="205482"/>
                    <a:pt x="113242" y="193712"/>
                  </a:cubicBezTo>
                  <a:cubicBezTo>
                    <a:pt x="117655" y="157667"/>
                    <a:pt x="126994" y="124903"/>
                    <a:pt x="139858" y="97889"/>
                  </a:cubicBezTo>
                  <a:lnTo>
                    <a:pt x="104757" y="94739"/>
                  </a:lnTo>
                  <a:lnTo>
                    <a:pt x="104765" y="94737"/>
                  </a:lnTo>
                  <a:lnTo>
                    <a:pt x="104765" y="81876"/>
                  </a:lnTo>
                  <a:lnTo>
                    <a:pt x="146007" y="85887"/>
                  </a:lnTo>
                  <a:cubicBezTo>
                    <a:pt x="152751" y="73432"/>
                    <a:pt x="161012" y="61861"/>
                    <a:pt x="170602" y="51437"/>
                  </a:cubicBezTo>
                  <a:cubicBezTo>
                    <a:pt x="169261" y="49447"/>
                    <a:pt x="168139" y="47318"/>
                    <a:pt x="167259" y="45085"/>
                  </a:cubicBezTo>
                  <a:cubicBezTo>
                    <a:pt x="160580" y="28138"/>
                    <a:pt x="168904" y="8985"/>
                    <a:pt x="185852" y="2306"/>
                  </a:cubicBezTo>
                  <a:close/>
                </a:path>
              </a:pathLst>
            </a:custGeom>
            <a:solidFill>
              <a:srgbClr val="025EA1"/>
            </a:solidFill>
            <a:ln w="12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40737281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5"/>
          <p:cNvSpPr txBox="1">
            <a:spLocks/>
          </p:cNvSpPr>
          <p:nvPr/>
        </p:nvSpPr>
        <p:spPr>
          <a:xfrm>
            <a:off x="668195" y="362791"/>
            <a:ext cx="7118557" cy="459206"/>
          </a:xfrm>
          <a:prstGeom prst="rect">
            <a:avLst/>
          </a:prstGeom>
        </p:spPr>
        <p:txBody>
          <a:bodyPr lIns="0" tIns="0" rIns="0" bIns="0"/>
          <a:lstStyle>
            <a:lvl1pPr algn="l" defTabSz="104269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3200" b="1" kern="120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sz="2400" dirty="0"/>
              <a:t>Финансовый план реализации Программы</a:t>
            </a:r>
            <a:endParaRPr lang="ru-RU" sz="2300" dirty="0"/>
          </a:p>
        </p:txBody>
      </p:sp>
      <p:sp>
        <p:nvSpPr>
          <p:cNvPr id="28" name="Полилиния 27">
            <a:extLst>
              <a:ext uri="{FF2B5EF4-FFF2-40B4-BE49-F238E27FC236}">
                <a16:creationId xmlns:a16="http://schemas.microsoft.com/office/drawing/2014/main" id="{F3399F15-2272-D43C-AD76-0695536878C1}"/>
              </a:ext>
            </a:extLst>
          </p:cNvPr>
          <p:cNvSpPr/>
          <p:nvPr/>
        </p:nvSpPr>
        <p:spPr>
          <a:xfrm>
            <a:off x="10936822" y="147283"/>
            <a:ext cx="720000" cy="720000"/>
          </a:xfrm>
          <a:custGeom>
            <a:avLst/>
            <a:gdLst>
              <a:gd name="connsiteX0" fmla="*/ 70469 w 360606"/>
              <a:gd name="connsiteY0" fmla="*/ 240819 h 360583"/>
              <a:gd name="connsiteX1" fmla="*/ 176281 w 360606"/>
              <a:gd name="connsiteY1" fmla="*/ 247815 h 360583"/>
              <a:gd name="connsiteX2" fmla="*/ 225231 w 360606"/>
              <a:gd name="connsiteY2" fmla="*/ 252840 h 360583"/>
              <a:gd name="connsiteX3" fmla="*/ 201443 w 360606"/>
              <a:gd name="connsiteY3" fmla="*/ 359403 h 360583"/>
              <a:gd name="connsiteX4" fmla="*/ 110158 w 360606"/>
              <a:gd name="connsiteY4" fmla="*/ 346288 h 360583"/>
              <a:gd name="connsiteX5" fmla="*/ 70469 w 360606"/>
              <a:gd name="connsiteY5" fmla="*/ 240819 h 360583"/>
              <a:gd name="connsiteX6" fmla="*/ 360606 w 360606"/>
              <a:gd name="connsiteY6" fmla="*/ 195902 h 360583"/>
              <a:gd name="connsiteX7" fmla="*/ 337123 w 360606"/>
              <a:gd name="connsiteY7" fmla="*/ 270459 h 360583"/>
              <a:gd name="connsiteX8" fmla="*/ 210818 w 360606"/>
              <a:gd name="connsiteY8" fmla="*/ 358016 h 360583"/>
              <a:gd name="connsiteX9" fmla="*/ 233067 w 360606"/>
              <a:gd name="connsiteY9" fmla="*/ 258094 h 360583"/>
              <a:gd name="connsiteX10" fmla="*/ 287766 w 360606"/>
              <a:gd name="connsiteY10" fmla="*/ 253807 h 360583"/>
              <a:gd name="connsiteX11" fmla="*/ 360606 w 360606"/>
              <a:gd name="connsiteY11" fmla="*/ 195902 h 360583"/>
              <a:gd name="connsiteX12" fmla="*/ 180300 w 360606"/>
              <a:gd name="connsiteY12" fmla="*/ 142474 h 360583"/>
              <a:gd name="connsiteX13" fmla="*/ 180351 w 360606"/>
              <a:gd name="connsiteY13" fmla="*/ 142474 h 360583"/>
              <a:gd name="connsiteX14" fmla="*/ 218183 w 360606"/>
              <a:gd name="connsiteY14" fmla="*/ 180331 h 360583"/>
              <a:gd name="connsiteX15" fmla="*/ 180326 w 360606"/>
              <a:gd name="connsiteY15" fmla="*/ 218214 h 360583"/>
              <a:gd name="connsiteX16" fmla="*/ 142443 w 360606"/>
              <a:gd name="connsiteY16" fmla="*/ 180357 h 360583"/>
              <a:gd name="connsiteX17" fmla="*/ 180300 w 360606"/>
              <a:gd name="connsiteY17" fmla="*/ 142474 h 360583"/>
              <a:gd name="connsiteX18" fmla="*/ 11355 w 360606"/>
              <a:gd name="connsiteY18" fmla="*/ 117528 h 360583"/>
              <a:gd name="connsiteX19" fmla="*/ 86930 w 360606"/>
              <a:gd name="connsiteY19" fmla="*/ 186729 h 360583"/>
              <a:gd name="connsiteX20" fmla="*/ 63282 w 360606"/>
              <a:gd name="connsiteY20" fmla="*/ 236150 h 360583"/>
              <a:gd name="connsiteX21" fmla="*/ 77084 w 360606"/>
              <a:gd name="connsiteY21" fmla="*/ 328083 h 360583"/>
              <a:gd name="connsiteX22" fmla="*/ 24191 w 360606"/>
              <a:gd name="connsiteY22" fmla="*/ 270433 h 360583"/>
              <a:gd name="connsiteX23" fmla="*/ 11355 w 360606"/>
              <a:gd name="connsiteY23" fmla="*/ 117528 h 360583"/>
              <a:gd name="connsiteX24" fmla="*/ 325674 w 360606"/>
              <a:gd name="connsiteY24" fmla="*/ 72764 h 360583"/>
              <a:gd name="connsiteX25" fmla="*/ 359893 w 360606"/>
              <a:gd name="connsiteY25" fmla="*/ 158261 h 360583"/>
              <a:gd name="connsiteX26" fmla="*/ 288313 w 360606"/>
              <a:gd name="connsiteY26" fmla="*/ 245297 h 360583"/>
              <a:gd name="connsiteX27" fmla="*/ 241475 w 360606"/>
              <a:gd name="connsiteY27" fmla="*/ 150323 h 360583"/>
              <a:gd name="connsiteX28" fmla="*/ 221363 w 360606"/>
              <a:gd name="connsiteY28" fmla="*/ 105482 h 360583"/>
              <a:gd name="connsiteX29" fmla="*/ 325674 w 360606"/>
              <a:gd name="connsiteY29" fmla="*/ 72764 h 360583"/>
              <a:gd name="connsiteX30" fmla="*/ 100647 w 360606"/>
              <a:gd name="connsiteY30" fmla="*/ 25566 h 360583"/>
              <a:gd name="connsiteX31" fmla="*/ 183226 w 360606"/>
              <a:gd name="connsiteY31" fmla="*/ 54777 h 360583"/>
              <a:gd name="connsiteX32" fmla="*/ 124265 w 360606"/>
              <a:gd name="connsiteY32" fmla="*/ 142754 h 360583"/>
              <a:gd name="connsiteX33" fmla="*/ 95427 w 360606"/>
              <a:gd name="connsiteY33" fmla="*/ 182570 h 360583"/>
              <a:gd name="connsiteX34" fmla="*/ 14891 w 360606"/>
              <a:gd name="connsiteY34" fmla="*/ 108726 h 360583"/>
              <a:gd name="connsiteX35" fmla="*/ 71919 w 360606"/>
              <a:gd name="connsiteY35" fmla="*/ 36357 h 360583"/>
              <a:gd name="connsiteX36" fmla="*/ 100647 w 360606"/>
              <a:gd name="connsiteY36" fmla="*/ 25566 h 360583"/>
              <a:gd name="connsiteX37" fmla="*/ 180656 w 360606"/>
              <a:gd name="connsiteY37" fmla="*/ 0 h 360583"/>
              <a:gd name="connsiteX38" fmla="*/ 319746 w 360606"/>
              <a:gd name="connsiteY38" fmla="*/ 65309 h 360583"/>
              <a:gd name="connsiteX39" fmla="*/ 221897 w 360606"/>
              <a:gd name="connsiteY39" fmla="*/ 96055 h 360583"/>
              <a:gd name="connsiteX40" fmla="*/ 190846 w 360606"/>
              <a:gd name="connsiteY40" fmla="*/ 50934 h 360583"/>
              <a:gd name="connsiteX41" fmla="*/ 104204 w 360606"/>
              <a:gd name="connsiteY41" fmla="*/ 16906 h 360583"/>
              <a:gd name="connsiteX42" fmla="*/ 180656 w 360606"/>
              <a:gd name="connsiteY42" fmla="*/ 0 h 360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360606" h="360583">
                <a:moveTo>
                  <a:pt x="70469" y="240819"/>
                </a:moveTo>
                <a:cubicBezTo>
                  <a:pt x="97539" y="256199"/>
                  <a:pt x="138691" y="256364"/>
                  <a:pt x="176281" y="247815"/>
                </a:cubicBezTo>
                <a:cubicBezTo>
                  <a:pt x="206951" y="240819"/>
                  <a:pt x="220384" y="248490"/>
                  <a:pt x="225231" y="252840"/>
                </a:cubicBezTo>
                <a:cubicBezTo>
                  <a:pt x="187348" y="298444"/>
                  <a:pt x="197143" y="344583"/>
                  <a:pt x="201443" y="359403"/>
                </a:cubicBezTo>
                <a:cubicBezTo>
                  <a:pt x="170392" y="362961"/>
                  <a:pt x="138950" y="358442"/>
                  <a:pt x="110158" y="346288"/>
                </a:cubicBezTo>
                <a:cubicBezTo>
                  <a:pt x="71982" y="325934"/>
                  <a:pt x="60381" y="280775"/>
                  <a:pt x="70469" y="240819"/>
                </a:cubicBezTo>
                <a:close/>
                <a:moveTo>
                  <a:pt x="360606" y="195902"/>
                </a:moveTo>
                <a:cubicBezTo>
                  <a:pt x="358360" y="222179"/>
                  <a:pt x="350340" y="247636"/>
                  <a:pt x="337123" y="270459"/>
                </a:cubicBezTo>
                <a:cubicBezTo>
                  <a:pt x="310202" y="317035"/>
                  <a:pt x="263879" y="349148"/>
                  <a:pt x="210818" y="358016"/>
                </a:cubicBezTo>
                <a:cubicBezTo>
                  <a:pt x="204725" y="339012"/>
                  <a:pt x="200145" y="297033"/>
                  <a:pt x="233067" y="258094"/>
                </a:cubicBezTo>
                <a:cubicBezTo>
                  <a:pt x="253420" y="259583"/>
                  <a:pt x="271700" y="258196"/>
                  <a:pt x="287766" y="253807"/>
                </a:cubicBezTo>
                <a:cubicBezTo>
                  <a:pt x="320357" y="245284"/>
                  <a:pt x="347885" y="224193"/>
                  <a:pt x="360606" y="195902"/>
                </a:cubicBezTo>
                <a:close/>
                <a:moveTo>
                  <a:pt x="180300" y="142474"/>
                </a:moveTo>
                <a:cubicBezTo>
                  <a:pt x="180317" y="142474"/>
                  <a:pt x="180335" y="142474"/>
                  <a:pt x="180351" y="142474"/>
                </a:cubicBezTo>
                <a:cubicBezTo>
                  <a:pt x="201249" y="142488"/>
                  <a:pt x="218183" y="159433"/>
                  <a:pt x="218183" y="180331"/>
                </a:cubicBezTo>
                <a:cubicBezTo>
                  <a:pt x="218191" y="201247"/>
                  <a:pt x="201241" y="218206"/>
                  <a:pt x="180326" y="218214"/>
                </a:cubicBezTo>
                <a:cubicBezTo>
                  <a:pt x="159410" y="218220"/>
                  <a:pt x="142451" y="201271"/>
                  <a:pt x="142443" y="180357"/>
                </a:cubicBezTo>
                <a:cubicBezTo>
                  <a:pt x="142435" y="159441"/>
                  <a:pt x="159386" y="142482"/>
                  <a:pt x="180300" y="142474"/>
                </a:cubicBezTo>
                <a:close/>
                <a:moveTo>
                  <a:pt x="11355" y="117528"/>
                </a:moveTo>
                <a:cubicBezTo>
                  <a:pt x="30958" y="121777"/>
                  <a:pt x="69604" y="138797"/>
                  <a:pt x="86930" y="186729"/>
                </a:cubicBezTo>
                <a:cubicBezTo>
                  <a:pt x="75507" y="203534"/>
                  <a:pt x="67531" y="220071"/>
                  <a:pt x="63282" y="236150"/>
                </a:cubicBezTo>
                <a:cubicBezTo>
                  <a:pt x="54390" y="268588"/>
                  <a:pt x="58880" y="302973"/>
                  <a:pt x="77084" y="328083"/>
                </a:cubicBezTo>
                <a:cubicBezTo>
                  <a:pt x="55436" y="312981"/>
                  <a:pt x="37377" y="293298"/>
                  <a:pt x="24191" y="270433"/>
                </a:cubicBezTo>
                <a:cubicBezTo>
                  <a:pt x="-2731" y="223946"/>
                  <a:pt x="-7440" y="167852"/>
                  <a:pt x="11355" y="117528"/>
                </a:cubicBezTo>
                <a:close/>
                <a:moveTo>
                  <a:pt x="325674" y="72764"/>
                </a:moveTo>
                <a:cubicBezTo>
                  <a:pt x="344271" y="97831"/>
                  <a:pt x="356060" y="127286"/>
                  <a:pt x="359893" y="158261"/>
                </a:cubicBezTo>
                <a:cubicBezTo>
                  <a:pt x="361292" y="201435"/>
                  <a:pt x="327964" y="234064"/>
                  <a:pt x="288313" y="245297"/>
                </a:cubicBezTo>
                <a:cubicBezTo>
                  <a:pt x="288122" y="214207"/>
                  <a:pt x="267692" y="178551"/>
                  <a:pt x="241475" y="150323"/>
                </a:cubicBezTo>
                <a:cubicBezTo>
                  <a:pt x="220091" y="127298"/>
                  <a:pt x="220015" y="111842"/>
                  <a:pt x="221363" y="105482"/>
                </a:cubicBezTo>
                <a:cubicBezTo>
                  <a:pt x="279879" y="115442"/>
                  <a:pt x="314963" y="83895"/>
                  <a:pt x="325674" y="72764"/>
                </a:cubicBezTo>
                <a:close/>
                <a:moveTo>
                  <a:pt x="100647" y="25566"/>
                </a:moveTo>
                <a:cubicBezTo>
                  <a:pt x="130180" y="20809"/>
                  <a:pt x="161025" y="33253"/>
                  <a:pt x="183226" y="54777"/>
                </a:cubicBezTo>
                <a:cubicBezTo>
                  <a:pt x="156360" y="70487"/>
                  <a:pt x="135637" y="105978"/>
                  <a:pt x="124265" y="142754"/>
                </a:cubicBezTo>
                <a:cubicBezTo>
                  <a:pt x="114991" y="172775"/>
                  <a:pt x="101622" y="180548"/>
                  <a:pt x="95427" y="182570"/>
                </a:cubicBezTo>
                <a:cubicBezTo>
                  <a:pt x="74819" y="127006"/>
                  <a:pt x="29889" y="112415"/>
                  <a:pt x="14891" y="108726"/>
                </a:cubicBezTo>
                <a:cubicBezTo>
                  <a:pt x="27329" y="80081"/>
                  <a:pt x="46977" y="55148"/>
                  <a:pt x="71919" y="36357"/>
                </a:cubicBezTo>
                <a:cubicBezTo>
                  <a:pt x="81103" y="30648"/>
                  <a:pt x="90802" y="27152"/>
                  <a:pt x="100647" y="25566"/>
                </a:cubicBezTo>
                <a:close/>
                <a:moveTo>
                  <a:pt x="180656" y="0"/>
                </a:moveTo>
                <a:cubicBezTo>
                  <a:pt x="234439" y="-61"/>
                  <a:pt x="285442" y="23887"/>
                  <a:pt x="319746" y="65309"/>
                </a:cubicBezTo>
                <a:cubicBezTo>
                  <a:pt x="306300" y="80141"/>
                  <a:pt x="272246" y="105036"/>
                  <a:pt x="221897" y="96055"/>
                </a:cubicBezTo>
                <a:cubicBezTo>
                  <a:pt x="213069" y="77801"/>
                  <a:pt x="202689" y="62638"/>
                  <a:pt x="190846" y="50934"/>
                </a:cubicBezTo>
                <a:cubicBezTo>
                  <a:pt x="167159" y="27083"/>
                  <a:pt x="135090" y="13726"/>
                  <a:pt x="104204" y="16906"/>
                </a:cubicBezTo>
                <a:cubicBezTo>
                  <a:pt x="128142" y="5738"/>
                  <a:pt x="154241" y="-34"/>
                  <a:pt x="180656" y="0"/>
                </a:cubicBezTo>
                <a:close/>
              </a:path>
            </a:pathLst>
          </a:custGeom>
          <a:solidFill>
            <a:schemeClr val="accent2"/>
          </a:solidFill>
          <a:ln w="124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9" name="TextBox 28"/>
          <p:cNvSpPr txBox="1"/>
          <p:nvPr/>
        </p:nvSpPr>
        <p:spPr>
          <a:xfrm>
            <a:off x="10701162" y="901363"/>
            <a:ext cx="119131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500" b="1" dirty="0"/>
              <a:t>РОС</a:t>
            </a:r>
            <a:r>
              <a:rPr lang="ru-RU" sz="1500" dirty="0"/>
              <a:t>АТОМ</a:t>
            </a: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8939156D-E34E-4ACD-C3C0-8BDE4332726E}"/>
              </a:ext>
            </a:extLst>
          </p:cNvPr>
          <p:cNvGrpSpPr/>
          <p:nvPr/>
        </p:nvGrpSpPr>
        <p:grpSpPr>
          <a:xfrm>
            <a:off x="2637873" y="945286"/>
            <a:ext cx="6538007" cy="525501"/>
            <a:chOff x="3290400" y="1227418"/>
            <a:chExt cx="1873984" cy="1256582"/>
          </a:xfrm>
        </p:grpSpPr>
        <p:grpSp>
          <p:nvGrpSpPr>
            <p:cNvPr id="4" name="Группа 3">
              <a:extLst>
                <a:ext uri="{FF2B5EF4-FFF2-40B4-BE49-F238E27FC236}">
                  <a16:creationId xmlns:a16="http://schemas.microsoft.com/office/drawing/2014/main" id="{4EA0D6A2-ABE9-F430-F446-EE04C3A98265}"/>
                </a:ext>
              </a:extLst>
            </p:cNvPr>
            <p:cNvGrpSpPr/>
            <p:nvPr/>
          </p:nvGrpSpPr>
          <p:grpSpPr bwMode="auto">
            <a:xfrm>
              <a:off x="3997474" y="1227418"/>
              <a:ext cx="432000" cy="432000"/>
              <a:chOff x="977874" y="3635789"/>
              <a:chExt cx="432000" cy="432000"/>
            </a:xfrm>
          </p:grpSpPr>
          <p:sp>
            <p:nvSpPr>
              <p:cNvPr id="7" name="Овал 6">
                <a:extLst>
                  <a:ext uri="{FF2B5EF4-FFF2-40B4-BE49-F238E27FC236}">
                    <a16:creationId xmlns:a16="http://schemas.microsoft.com/office/drawing/2014/main" id="{182DA2E5-2250-EB60-C69B-33ECEEA9A2C4}"/>
                  </a:ext>
                </a:extLst>
              </p:cNvPr>
              <p:cNvSpPr/>
              <p:nvPr/>
            </p:nvSpPr>
            <p:spPr bwMode="auto">
              <a:xfrm>
                <a:off x="977874" y="3635789"/>
                <a:ext cx="432000" cy="432000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/>
              </a:p>
            </p:txBody>
          </p:sp>
          <p:grpSp>
            <p:nvGrpSpPr>
              <p:cNvPr id="8" name="Группа 7">
                <a:extLst>
                  <a:ext uri="{FF2B5EF4-FFF2-40B4-BE49-F238E27FC236}">
                    <a16:creationId xmlns:a16="http://schemas.microsoft.com/office/drawing/2014/main" id="{6401EBD2-84AB-66AC-18F0-0D3C3AED7D80}"/>
                  </a:ext>
                </a:extLst>
              </p:cNvPr>
              <p:cNvGrpSpPr/>
              <p:nvPr/>
            </p:nvGrpSpPr>
            <p:grpSpPr bwMode="auto">
              <a:xfrm>
                <a:off x="1014196" y="3670681"/>
                <a:ext cx="360000" cy="360000"/>
                <a:chOff x="1014196" y="3851638"/>
                <a:chExt cx="360000" cy="360000"/>
              </a:xfrm>
            </p:grpSpPr>
            <p:sp>
              <p:nvSpPr>
                <p:cNvPr id="9" name="Овал 8">
                  <a:extLst>
                    <a:ext uri="{FF2B5EF4-FFF2-40B4-BE49-F238E27FC236}">
                      <a16:creationId xmlns:a16="http://schemas.microsoft.com/office/drawing/2014/main" id="{79D0C8F3-4050-7524-6E3C-BA046F4AB4BB}"/>
                    </a:ext>
                  </a:extLst>
                </p:cNvPr>
                <p:cNvSpPr/>
                <p:nvPr/>
              </p:nvSpPr>
              <p:spPr bwMode="auto">
                <a:xfrm>
                  <a:off x="1014196" y="3851638"/>
                  <a:ext cx="360000" cy="360000"/>
                </a:xfrm>
                <a:prstGeom prst="ellipse">
                  <a:avLst/>
                </a:prstGeom>
                <a:solidFill>
                  <a:schemeClr val="bg1"/>
                </a:solidFill>
                <a:ln w="28575">
                  <a:solidFill>
                    <a:schemeClr val="accent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defRPr/>
                  </a:pPr>
                  <a:endParaRPr lang="ru-RU"/>
                </a:p>
              </p:txBody>
            </p:sp>
            <p:sp>
              <p:nvSpPr>
                <p:cNvPr id="10" name="Freeform 126">
                  <a:extLst>
                    <a:ext uri="{FF2B5EF4-FFF2-40B4-BE49-F238E27FC236}">
                      <a16:creationId xmlns:a16="http://schemas.microsoft.com/office/drawing/2014/main" id="{BB989FBF-A6DD-D3E6-245F-4679DE28866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04196" y="3945104"/>
                  <a:ext cx="180000" cy="180000"/>
                </a:xfrm>
                <a:custGeom>
                  <a:avLst/>
                  <a:gdLst>
                    <a:gd name="T0" fmla="*/ 403 w 404"/>
                    <a:gd name="T1" fmla="*/ 201 h 404"/>
                    <a:gd name="T2" fmla="*/ 403 w 404"/>
                    <a:gd name="T3" fmla="*/ 201 h 404"/>
                    <a:gd name="T4" fmla="*/ 201 w 404"/>
                    <a:gd name="T5" fmla="*/ 403 h 404"/>
                    <a:gd name="T6" fmla="*/ 201 w 404"/>
                    <a:gd name="T7" fmla="*/ 403 h 404"/>
                    <a:gd name="T8" fmla="*/ 0 w 404"/>
                    <a:gd name="T9" fmla="*/ 201 h 404"/>
                    <a:gd name="T10" fmla="*/ 0 w 404"/>
                    <a:gd name="T11" fmla="*/ 201 h 404"/>
                    <a:gd name="T12" fmla="*/ 201 w 404"/>
                    <a:gd name="T13" fmla="*/ 0 h 404"/>
                    <a:gd name="T14" fmla="*/ 201 w 404"/>
                    <a:gd name="T15" fmla="*/ 0 h 404"/>
                    <a:gd name="T16" fmla="*/ 403 w 404"/>
                    <a:gd name="T17" fmla="*/ 201 h 4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04" h="404" extrusionOk="0">
                      <a:moveTo>
                        <a:pt x="403" y="201"/>
                      </a:moveTo>
                      <a:lnTo>
                        <a:pt x="403" y="201"/>
                      </a:lnTo>
                      <a:cubicBezTo>
                        <a:pt x="403" y="313"/>
                        <a:pt x="312" y="403"/>
                        <a:pt x="201" y="403"/>
                      </a:cubicBezTo>
                      <a:lnTo>
                        <a:pt x="201" y="403"/>
                      </a:lnTo>
                      <a:cubicBezTo>
                        <a:pt x="90" y="403"/>
                        <a:pt x="0" y="313"/>
                        <a:pt x="0" y="201"/>
                      </a:cubicBezTo>
                      <a:lnTo>
                        <a:pt x="0" y="201"/>
                      </a:lnTo>
                      <a:cubicBezTo>
                        <a:pt x="0" y="90"/>
                        <a:pt x="90" y="0"/>
                        <a:pt x="201" y="0"/>
                      </a:cubicBezTo>
                      <a:lnTo>
                        <a:pt x="201" y="0"/>
                      </a:lnTo>
                      <a:cubicBezTo>
                        <a:pt x="312" y="0"/>
                        <a:pt x="403" y="90"/>
                        <a:pt x="403" y="201"/>
                      </a:cubicBezTo>
                    </a:path>
                  </a:pathLst>
                </a:custGeom>
                <a:solidFill>
                  <a:schemeClr val="accent2"/>
                </a:solidFill>
                <a:ln w="28575">
                  <a:solidFill>
                    <a:schemeClr val="accent1">
                      <a:lumMod val="75000"/>
                    </a:schemeClr>
                  </a:solidFill>
                </a:ln>
                <a:effectLst/>
              </p:spPr>
              <p:txBody>
                <a:bodyPr wrap="none" anchor="ctr"/>
                <a:lstStyle/>
                <a:p>
                  <a:pPr marL="0" marR="0" lvl="0" indent="0" algn="l" defTabSz="685807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lang="en-US" sz="900" b="0" i="0" u="none" strike="noStrike" cap="none" spc="0">
                    <a:ln>
                      <a:noFill/>
                    </a:ln>
                    <a:solidFill>
                      <a:srgbClr val="333333"/>
                    </a:solidFill>
                    <a:latin typeface="Arial"/>
                    <a:ea typeface="Arial"/>
                    <a:cs typeface="Arial"/>
                  </a:endParaRPr>
                </a:p>
              </p:txBody>
            </p:sp>
          </p:grpSp>
        </p:grpSp>
        <p:cxnSp>
          <p:nvCxnSpPr>
            <p:cNvPr id="5" name="Соединительная линия уступом 24">
              <a:extLst>
                <a:ext uri="{FF2B5EF4-FFF2-40B4-BE49-F238E27FC236}">
                  <a16:creationId xmlns:a16="http://schemas.microsoft.com/office/drawing/2014/main" id="{5F2EA20B-8F6B-5B4D-7B4B-5C777E9A1191}"/>
                </a:ext>
              </a:extLst>
            </p:cNvPr>
            <p:cNvCxnSpPr>
              <a:cxnSpLocks/>
            </p:cNvCxnSpPr>
            <p:nvPr/>
          </p:nvCxnSpPr>
          <p:spPr bwMode="auto">
            <a:xfrm rot="5400000" flipH="1" flipV="1">
              <a:off x="3560400" y="1818000"/>
              <a:ext cx="396000" cy="936000"/>
            </a:xfrm>
            <a:prstGeom prst="bentConnector3">
              <a:avLst>
                <a:gd name="adj1" fmla="val 99242"/>
              </a:avLst>
            </a:prstGeom>
            <a:ln w="28575">
              <a:solidFill>
                <a:schemeClr val="accent1">
                  <a:lumMod val="75000"/>
                </a:schemeClr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Соединительная линия уступом 25">
              <a:extLst>
                <a:ext uri="{FF2B5EF4-FFF2-40B4-BE49-F238E27FC236}">
                  <a16:creationId xmlns:a16="http://schemas.microsoft.com/office/drawing/2014/main" id="{32CDD8C7-CD99-51A1-D82A-026B6368D261}"/>
                </a:ext>
              </a:extLst>
            </p:cNvPr>
            <p:cNvCxnSpPr>
              <a:cxnSpLocks/>
            </p:cNvCxnSpPr>
            <p:nvPr/>
          </p:nvCxnSpPr>
          <p:spPr bwMode="auto">
            <a:xfrm rot="16199998" flipH="1">
              <a:off x="4263469" y="1577000"/>
              <a:ext cx="865830" cy="936000"/>
            </a:xfrm>
            <a:prstGeom prst="bentConnector3">
              <a:avLst>
                <a:gd name="adj1" fmla="val 54191"/>
              </a:avLst>
            </a:prstGeom>
            <a:ln w="28575">
              <a:solidFill>
                <a:schemeClr val="accent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C5BB2FBA-3E8A-BFC1-AF6D-A966421724A5}"/>
              </a:ext>
            </a:extLst>
          </p:cNvPr>
          <p:cNvSpPr txBox="1"/>
          <p:nvPr/>
        </p:nvSpPr>
        <p:spPr>
          <a:xfrm>
            <a:off x="3541869" y="858186"/>
            <a:ext cx="5202835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defTabSz="914348"/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юджет программы - 3 155 092,40 тыс. руб. </a:t>
            </a:r>
          </a:p>
        </p:txBody>
      </p:sp>
      <p:graphicFrame>
        <p:nvGraphicFramePr>
          <p:cNvPr id="42" name="Таблица 41">
            <a:extLst>
              <a:ext uri="{FF2B5EF4-FFF2-40B4-BE49-F238E27FC236}">
                <a16:creationId xmlns:a16="http://schemas.microsoft.com/office/drawing/2014/main" id="{B0CE8399-B330-2B3F-B60B-99AFD0F8F27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1801527"/>
              </p:ext>
            </p:extLst>
          </p:nvPr>
        </p:nvGraphicFramePr>
        <p:xfrm>
          <a:off x="532001" y="1609131"/>
          <a:ext cx="5276606" cy="462571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020432">
                  <a:extLst>
                    <a:ext uri="{9D8B030D-6E8A-4147-A177-3AD203B41FA5}">
                      <a16:colId xmlns:a16="http://schemas.microsoft.com/office/drawing/2014/main" val="607798961"/>
                    </a:ext>
                  </a:extLst>
                </a:gridCol>
                <a:gridCol w="1256174">
                  <a:extLst>
                    <a:ext uri="{9D8B030D-6E8A-4147-A177-3AD203B41FA5}">
                      <a16:colId xmlns:a16="http://schemas.microsoft.com/office/drawing/2014/main" val="4137981660"/>
                    </a:ext>
                  </a:extLst>
                </a:gridCol>
              </a:tblGrid>
              <a:tr h="396000">
                <a:tc gridSpan="2">
                  <a:txBody>
                    <a:bodyPr/>
                    <a:lstStyle/>
                    <a:p>
                      <a:pPr marL="0" marR="0" lvl="0" indent="0" algn="ctr" defTabSz="104269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>
                          <a:solidFill>
                            <a:schemeClr val="tx1"/>
                          </a:solidFill>
                        </a:rPr>
                        <a:t>1-й этап: 2013-2016 гг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8" marR="9528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bg1">
                            <a:lumMod val="95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95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l" rtl="0" fontAlgn="ctr"/>
                      <a:endParaRPr lang="ru-RU" sz="1400" b="1" i="0" u="none" strike="noStrike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8" marR="9528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bg1">
                            <a:lumMod val="95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95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43155520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400" b="1" i="0" u="none" strike="noStrike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ВСЕГО</a:t>
                      </a:r>
                    </a:p>
                  </a:txBody>
                  <a:tcPr marL="9528" marR="9528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bg1">
                            <a:lumMod val="95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95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162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400" b="1" i="0" u="none" strike="noStrike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360 195,33</a:t>
                      </a:r>
                    </a:p>
                  </a:txBody>
                  <a:tcPr marL="9528" marR="9528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bg1">
                            <a:lumMod val="95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95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95000"/>
                            <a:shade val="100000"/>
                            <a:satMod val="115000"/>
                          </a:schemeClr>
                        </a:gs>
                      </a:gsLst>
                      <a:lin ang="162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3652245841"/>
                  </a:ext>
                </a:extLst>
              </a:tr>
              <a:tr h="239607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000" b="1" u="none" strike="noStrike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Оплачено:</a:t>
                      </a:r>
                      <a:endParaRPr lang="ru-RU" sz="1000" b="1" i="0" u="none" strike="noStrike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8" marR="9528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000" b="1" u="none" strike="noStrike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196 780,25</a:t>
                      </a:r>
                      <a:endParaRPr lang="ru-RU" sz="1000" b="1" i="0" u="none" strike="noStrike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8" marR="9528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02049703"/>
                  </a:ext>
                </a:extLst>
              </a:tr>
              <a:tr h="239607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000" u="none" strike="noStrike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управление программой</a:t>
                      </a:r>
                      <a:endParaRPr lang="ru-RU" sz="1000" b="0" i="0" u="none" strike="noStrike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8" marR="9528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000" u="none" strike="noStrike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36 582,52</a:t>
                      </a:r>
                      <a:endParaRPr lang="ru-RU" sz="1000" b="0" i="0" u="none" strike="noStrike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8" marR="9528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20217277"/>
                  </a:ext>
                </a:extLst>
              </a:tr>
              <a:tr h="239607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000" u="none" strike="noStrike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НИР (оценка состояния объектов)</a:t>
                      </a:r>
                      <a:endParaRPr lang="ru-RU" sz="1000" b="0" i="0" u="none" strike="noStrike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8" marR="9528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000" u="none" strike="noStrike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55 226,80</a:t>
                      </a:r>
                      <a:endParaRPr lang="ru-RU" sz="1000" b="0" i="0" u="none" strike="noStrike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8" marR="9528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5654265"/>
                  </a:ext>
                </a:extLst>
              </a:tr>
              <a:tr h="239607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000" u="none" strike="noStrike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гармонизация законодательства</a:t>
                      </a:r>
                      <a:endParaRPr lang="ru-RU" sz="1000" b="0" i="0" u="none" strike="noStrike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8" marR="9528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000" u="none" strike="noStrike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8 955,10</a:t>
                      </a:r>
                      <a:endParaRPr lang="ru-RU" sz="1000" b="0" i="0" u="none" strike="noStrike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8" marR="9528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4885833"/>
                  </a:ext>
                </a:extLst>
              </a:tr>
              <a:tr h="239607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000" u="none" strike="noStrike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создание банка технических решений</a:t>
                      </a:r>
                      <a:endParaRPr lang="ru-RU" sz="1000" b="0" i="0" u="none" strike="noStrike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8" marR="9528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000" u="none" strike="noStrike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5 553,30</a:t>
                      </a:r>
                      <a:endParaRPr lang="ru-RU" sz="1000" b="0" i="0" u="none" strike="noStrike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8" marR="9528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20311346"/>
                  </a:ext>
                </a:extLst>
              </a:tr>
              <a:tr h="239607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000" u="none" strike="noStrike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инженерные изыскания (Киргизия)</a:t>
                      </a:r>
                      <a:endParaRPr lang="ru-RU" sz="1000" b="0" i="0" u="none" strike="noStrike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8" marR="9528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000" u="none" strike="noStrike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9 652,90</a:t>
                      </a:r>
                      <a:endParaRPr lang="ru-RU" sz="1000" b="0" i="0" u="none" strike="noStrike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8" marR="9528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25608057"/>
                  </a:ext>
                </a:extLst>
              </a:tr>
              <a:tr h="239607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000" u="none" strike="noStrike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инженерные изыскания (Таджикистан)</a:t>
                      </a:r>
                      <a:endParaRPr lang="ru-RU" sz="1000" b="0" i="0" u="none" strike="noStrike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8" marR="9528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000" u="none" strike="noStrike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10 583,30</a:t>
                      </a:r>
                      <a:endParaRPr lang="ru-RU" sz="1000" b="0" i="0" u="none" strike="noStrike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8" marR="9528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30671166"/>
                  </a:ext>
                </a:extLst>
              </a:tr>
              <a:tr h="239607">
                <a:tc>
                  <a:txBody>
                    <a:bodyPr/>
                    <a:lstStyle/>
                    <a:p>
                      <a:pPr lvl="0" algn="l" fontAlgn="t"/>
                      <a:r>
                        <a:rPr lang="ru-RU" sz="1000" u="none" strike="noStrike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проектирование (Киргизия)</a:t>
                      </a:r>
                      <a:endParaRPr lang="ru-RU" sz="1000" b="0" i="0" u="none" strike="noStrike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8" marR="9528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fontAlgn="t"/>
                      <a:r>
                        <a:rPr lang="ru-RU" sz="1000" u="none" strike="noStrike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22 955,29</a:t>
                      </a:r>
                      <a:endParaRPr lang="ru-RU" sz="1000" b="0" i="0" u="none" strike="noStrike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8" marR="9528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26282465"/>
                  </a:ext>
                </a:extLst>
              </a:tr>
              <a:tr h="239607">
                <a:tc>
                  <a:txBody>
                    <a:bodyPr/>
                    <a:lstStyle/>
                    <a:p>
                      <a:pPr lvl="0" algn="l" fontAlgn="t"/>
                      <a:r>
                        <a:rPr lang="ru-RU" sz="1000" u="none" strike="noStrike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разработка РД (Киргизия)</a:t>
                      </a:r>
                      <a:endParaRPr lang="ru-RU" sz="1000" b="0" i="0" u="none" strike="noStrike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8" marR="9528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fontAlgn="t"/>
                      <a:r>
                        <a:rPr lang="ru-RU" sz="1000" u="none" strike="noStrike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19 034,04</a:t>
                      </a:r>
                      <a:endParaRPr lang="ru-RU" sz="1000" b="0" i="0" u="none" strike="noStrike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8" marR="9528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89422028"/>
                  </a:ext>
                </a:extLst>
              </a:tr>
              <a:tr h="239607">
                <a:tc>
                  <a:txBody>
                    <a:bodyPr/>
                    <a:lstStyle/>
                    <a:p>
                      <a:pPr lvl="0" algn="l" fontAlgn="t"/>
                      <a:r>
                        <a:rPr lang="ru-RU" sz="1000" u="none" strike="noStrike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проектирование (Таджикистан)</a:t>
                      </a:r>
                      <a:endParaRPr lang="ru-RU" sz="1000" b="0" i="0" u="none" strike="noStrike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8" marR="9528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fontAlgn="t"/>
                      <a:r>
                        <a:rPr lang="ru-RU" sz="1000" u="none" strike="noStrike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24 748,00</a:t>
                      </a:r>
                      <a:endParaRPr lang="ru-RU" sz="1000" b="0" i="0" u="none" strike="noStrike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8" marR="9528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71934253"/>
                  </a:ext>
                </a:extLst>
              </a:tr>
              <a:tr h="239607">
                <a:tc>
                  <a:txBody>
                    <a:bodyPr/>
                    <a:lstStyle/>
                    <a:p>
                      <a:pPr lvl="0" algn="l" fontAlgn="t"/>
                      <a:r>
                        <a:rPr lang="ru-RU" sz="1000" u="none" strike="noStrike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экспертиза проектной документации</a:t>
                      </a:r>
                    </a:p>
                    <a:p>
                      <a:pPr lvl="0" algn="l" fontAlgn="t"/>
                      <a:endParaRPr lang="ru-RU" sz="300" b="0" i="0" u="none" strike="noStrike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8" marR="9528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fontAlgn="t"/>
                      <a:r>
                        <a:rPr lang="ru-RU" sz="1000" u="none" strike="noStrike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3 489,00</a:t>
                      </a:r>
                      <a:endParaRPr lang="ru-RU" sz="1000" b="0" i="0" u="none" strike="noStrike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8" marR="9528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058929"/>
                  </a:ext>
                </a:extLst>
              </a:tr>
              <a:tr h="239607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000" b="1" u="none" strike="noStrike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Не освоено:</a:t>
                      </a:r>
                      <a:endParaRPr lang="ru-RU" sz="1000" b="1" i="0" u="none" strike="noStrike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8" marR="9528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000" b="1" u="none" strike="noStrike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144 190,06</a:t>
                      </a:r>
                      <a:endParaRPr lang="ru-RU" sz="1000" b="1" i="0" u="none" strike="noStrike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8" marR="9528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40419363"/>
                  </a:ext>
                </a:extLst>
              </a:tr>
              <a:tr h="239607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000" u="none" strike="noStrike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выполнение работ (Киргизия)</a:t>
                      </a:r>
                      <a:endParaRPr lang="ru-RU" sz="1000" b="0" i="0" u="none" strike="noStrike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8" marR="9528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000" u="none" strike="noStrike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51 403,59</a:t>
                      </a:r>
                      <a:endParaRPr lang="ru-RU" sz="1000" b="0" i="0" u="none" strike="noStrike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8" marR="9528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07425592"/>
                  </a:ext>
                </a:extLst>
              </a:tr>
              <a:tr h="239607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000" u="none" strike="noStrike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разработка РД (Таджикистан)</a:t>
                      </a:r>
                      <a:endParaRPr lang="ru-RU" sz="1000" b="0" i="0" u="none" strike="noStrike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8" marR="9528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000" u="none" strike="noStrike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41 246,41</a:t>
                      </a:r>
                      <a:endParaRPr lang="ru-RU" sz="1000" b="0" i="0" u="none" strike="noStrike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8" marR="9528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3664550"/>
                  </a:ext>
                </a:extLst>
              </a:tr>
              <a:tr h="239607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000" u="none" strike="noStrike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выполнение работ (Таджикистан)</a:t>
                      </a:r>
                    </a:p>
                    <a:p>
                      <a:pPr lvl="0" algn="l" rtl="0" fontAlgn="ctr"/>
                      <a:endParaRPr lang="ru-RU" sz="300" b="0" i="0" u="none" strike="noStrike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8" marR="9528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000" u="none" strike="noStrike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51 540,06</a:t>
                      </a:r>
                      <a:endParaRPr lang="ru-RU" sz="1000" b="0" i="0" u="none" strike="noStrike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8" marR="9528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12746956"/>
                  </a:ext>
                </a:extLst>
              </a:tr>
              <a:tr h="239607">
                <a:tc>
                  <a:txBody>
                    <a:bodyPr/>
                    <a:lstStyle/>
                    <a:p>
                      <a:pPr lvl="0" algn="l" fontAlgn="b"/>
                      <a:r>
                        <a:rPr lang="ru-RU" sz="1000" b="1" u="none" strike="noStrike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Экономия</a:t>
                      </a:r>
                      <a:endParaRPr lang="ru-RU" sz="1000" b="1" i="0" u="none" strike="noStrike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8" marR="9528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ru-RU" sz="1000" b="1" u="none" strike="noStrike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  <a:latin typeface="+mn-lt"/>
                        </a:rPr>
                        <a:t>19 225,02</a:t>
                      </a:r>
                      <a:endParaRPr lang="ru-RU" sz="1000" b="1" i="0" u="none" strike="noStrike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8" marR="9528" marT="95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6771797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8CBC5DA1-C927-0673-735D-CA7B59D75D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2251169"/>
              </p:ext>
            </p:extLst>
          </p:nvPr>
        </p:nvGraphicFramePr>
        <p:xfrm>
          <a:off x="5910339" y="1606289"/>
          <a:ext cx="5822798" cy="4140000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4449767">
                  <a:extLst>
                    <a:ext uri="{9D8B030D-6E8A-4147-A177-3AD203B41FA5}">
                      <a16:colId xmlns:a16="http://schemas.microsoft.com/office/drawing/2014/main" val="232983339"/>
                    </a:ext>
                  </a:extLst>
                </a:gridCol>
                <a:gridCol w="1373031">
                  <a:extLst>
                    <a:ext uri="{9D8B030D-6E8A-4147-A177-3AD203B41FA5}">
                      <a16:colId xmlns:a16="http://schemas.microsoft.com/office/drawing/2014/main" val="2077627521"/>
                    </a:ext>
                  </a:extLst>
                </a:gridCol>
              </a:tblGrid>
              <a:tr h="396000">
                <a:tc gridSpan="2">
                  <a:txBody>
                    <a:bodyPr/>
                    <a:lstStyle/>
                    <a:p>
                      <a:pPr marL="0" marR="0" lvl="0" indent="0" algn="ctr" defTabSz="104269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>
                          <a:solidFill>
                            <a:schemeClr val="tx1"/>
                          </a:solidFill>
                        </a:rPr>
                        <a:t>2-й этап: 2017-2023 гг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3" marR="9523" marT="952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3">
                            <a:lumMod val="20000"/>
                            <a:lumOff val="80000"/>
                            <a:shade val="30000"/>
                            <a:satMod val="115000"/>
                          </a:schemeClr>
                        </a:gs>
                        <a:gs pos="50000">
                          <a:schemeClr val="accent3">
                            <a:lumMod val="20000"/>
                            <a:lumOff val="80000"/>
                            <a:shade val="67500"/>
                            <a:satMod val="115000"/>
                          </a:schemeClr>
                        </a:gs>
                        <a:gs pos="100000">
                          <a:schemeClr val="accent3">
                            <a:lumMod val="20000"/>
                            <a:lumOff val="80000"/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l" rtl="0" fontAlgn="ctr"/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3" marR="9523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11936081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ВСЕГО</a:t>
                      </a:r>
                    </a:p>
                  </a:txBody>
                  <a:tcPr marL="9523" marR="9523" marT="952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3">
                            <a:lumMod val="20000"/>
                            <a:lumOff val="80000"/>
                            <a:shade val="30000"/>
                            <a:satMod val="115000"/>
                          </a:schemeClr>
                        </a:gs>
                        <a:gs pos="50000">
                          <a:schemeClr val="accent3">
                            <a:lumMod val="20000"/>
                            <a:lumOff val="80000"/>
                            <a:shade val="67500"/>
                            <a:satMod val="115000"/>
                          </a:schemeClr>
                        </a:gs>
                        <a:gs pos="100000">
                          <a:schemeClr val="accent3">
                            <a:lumMod val="20000"/>
                            <a:lumOff val="80000"/>
                            <a:shade val="100000"/>
                            <a:satMod val="115000"/>
                          </a:schemeClr>
                        </a:gs>
                      </a:gsLst>
                      <a:lin ang="162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 794 897,07</a:t>
                      </a:r>
                    </a:p>
                  </a:txBody>
                  <a:tcPr marL="9523" marR="9523" marT="952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3">
                            <a:lumMod val="20000"/>
                            <a:lumOff val="80000"/>
                            <a:shade val="30000"/>
                            <a:satMod val="115000"/>
                          </a:schemeClr>
                        </a:gs>
                        <a:gs pos="50000">
                          <a:schemeClr val="accent3">
                            <a:lumMod val="20000"/>
                            <a:lumOff val="80000"/>
                            <a:shade val="67500"/>
                            <a:satMod val="115000"/>
                          </a:schemeClr>
                        </a:gs>
                        <a:gs pos="100000">
                          <a:schemeClr val="accent3">
                            <a:lumMod val="20000"/>
                            <a:lumOff val="80000"/>
                            <a:shade val="100000"/>
                            <a:satMod val="115000"/>
                          </a:schemeClr>
                        </a:gs>
                      </a:gsLst>
                      <a:lin ang="162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23482787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algn="l" rtl="0" fontAlgn="ctr"/>
                      <a:endParaRPr lang="ru-RU" sz="1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3" marR="9523" marT="952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ru-RU" sz="13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3" marR="9523" marT="952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8035935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3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управление программой</a:t>
                      </a:r>
                      <a:endParaRPr lang="ru-RU" sz="1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3" marR="9523" marT="952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300" u="none" strike="noStrike" dirty="0">
                          <a:solidFill>
                            <a:schemeClr val="tx1"/>
                          </a:solidFill>
                          <a:effectLst/>
                        </a:rPr>
                        <a:t>33 925,11</a:t>
                      </a:r>
                      <a:endParaRPr lang="ru-RU" sz="13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3" marR="9523" marT="952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6115777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300" b="1" u="none" strike="noStrike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</a:rPr>
                        <a:t>подготовка национальных кадров</a:t>
                      </a:r>
                      <a:endParaRPr lang="ru-RU" sz="1300" b="1" i="0" u="none" strike="noStrike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3" marR="9523" marT="952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300" u="none" strike="noStrike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</a:rPr>
                        <a:t>17 212,40</a:t>
                      </a:r>
                      <a:endParaRPr lang="ru-RU" sz="1300" b="0" i="0" u="none" strike="noStrike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3" marR="9523" marT="952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2119283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300" b="1" u="none" strike="noStrike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</a:rPr>
                        <a:t>социально-гигиенический мониторинг</a:t>
                      </a:r>
                      <a:endParaRPr lang="ru-RU" sz="1300" b="1" i="0" u="none" strike="noStrike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3" marR="9523" marT="952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300" u="none" strike="noStrike" dirty="0">
                          <a:solidFill>
                            <a:schemeClr val="accent2">
                              <a:lumMod val="10000"/>
                            </a:schemeClr>
                          </a:solidFill>
                          <a:effectLst/>
                        </a:rPr>
                        <a:t>84 000,00</a:t>
                      </a:r>
                      <a:endParaRPr lang="ru-RU" sz="1300" b="0" i="0" u="none" strike="noStrike" dirty="0">
                        <a:solidFill>
                          <a:schemeClr val="accent2">
                            <a:lumMod val="1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3" marR="9523" marT="952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3167790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3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реабилитация</a:t>
                      </a:r>
                      <a:r>
                        <a:rPr lang="ru-RU" sz="1300" b="1" u="none" strike="noStrike" baseline="0" dirty="0">
                          <a:solidFill>
                            <a:schemeClr val="tx1"/>
                          </a:solidFill>
                          <a:effectLst/>
                        </a:rPr>
                        <a:t> территорий</a:t>
                      </a:r>
                      <a:r>
                        <a:rPr lang="ru-RU" sz="13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 в Киргизии</a:t>
                      </a:r>
                      <a:endParaRPr lang="ru-RU" sz="1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3" marR="9523" marT="952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3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 879 390,01</a:t>
                      </a:r>
                      <a:endParaRPr lang="ru-RU" sz="13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3" marR="9523" marT="952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5008689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3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реабилитация</a:t>
                      </a:r>
                      <a:r>
                        <a:rPr lang="ru-RU" sz="1300" b="1" u="none" strike="noStrike" baseline="0" dirty="0">
                          <a:solidFill>
                            <a:schemeClr val="tx1"/>
                          </a:solidFill>
                          <a:effectLst/>
                        </a:rPr>
                        <a:t> территорий </a:t>
                      </a:r>
                      <a:r>
                        <a:rPr lang="ru-RU" sz="13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в Таджикистане</a:t>
                      </a:r>
                      <a:endParaRPr lang="ru-RU" sz="1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3" marR="9523" marT="952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80 369,55</a:t>
                      </a:r>
                    </a:p>
                  </a:txBody>
                  <a:tcPr marL="9523" marR="9523" marT="952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2165641"/>
                  </a:ext>
                </a:extLst>
              </a:tr>
            </a:tbl>
          </a:graphicData>
        </a:graphic>
      </p:graphicFrame>
      <p:cxnSp>
        <p:nvCxnSpPr>
          <p:cNvPr id="46" name="Прямая соединительная линия 45">
            <a:extLst>
              <a:ext uri="{FF2B5EF4-FFF2-40B4-BE49-F238E27FC236}">
                <a16:creationId xmlns:a16="http://schemas.microsoft.com/office/drawing/2014/main" id="{2CA49072-CDCE-2F82-698B-21DF31BBD7B5}"/>
              </a:ext>
            </a:extLst>
          </p:cNvPr>
          <p:cNvCxnSpPr>
            <a:cxnSpLocks/>
          </p:cNvCxnSpPr>
          <p:nvPr/>
        </p:nvCxnSpPr>
        <p:spPr>
          <a:xfrm>
            <a:off x="5859505" y="1621213"/>
            <a:ext cx="0" cy="461363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единительная линия 53">
            <a:extLst>
              <a:ext uri="{FF2B5EF4-FFF2-40B4-BE49-F238E27FC236}">
                <a16:creationId xmlns:a16="http://schemas.microsoft.com/office/drawing/2014/main" id="{6DB777C9-F627-F18F-2075-86A50F1D3A52}"/>
              </a:ext>
            </a:extLst>
          </p:cNvPr>
          <p:cNvCxnSpPr>
            <a:cxnSpLocks/>
          </p:cNvCxnSpPr>
          <p:nvPr/>
        </p:nvCxnSpPr>
        <p:spPr>
          <a:xfrm>
            <a:off x="467551" y="1621213"/>
            <a:ext cx="0" cy="461363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>
            <a:extLst>
              <a:ext uri="{FF2B5EF4-FFF2-40B4-BE49-F238E27FC236}">
                <a16:creationId xmlns:a16="http://schemas.microsoft.com/office/drawing/2014/main" id="{8DA9406D-6B48-ED7C-ACBC-D990425DFC29}"/>
              </a:ext>
            </a:extLst>
          </p:cNvPr>
          <p:cNvCxnSpPr>
            <a:cxnSpLocks/>
          </p:cNvCxnSpPr>
          <p:nvPr/>
        </p:nvCxnSpPr>
        <p:spPr>
          <a:xfrm>
            <a:off x="11756366" y="1621213"/>
            <a:ext cx="0" cy="4613630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38173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TextBox 111">
            <a:extLst>
              <a:ext uri="{FF2B5EF4-FFF2-40B4-BE49-F238E27FC236}">
                <a16:creationId xmlns:a16="http://schemas.microsoft.com/office/drawing/2014/main" id="{24F03831-77EC-F8E1-1EB4-65FB2C35D3C4}"/>
              </a:ext>
            </a:extLst>
          </p:cNvPr>
          <p:cNvSpPr txBox="1"/>
          <p:nvPr/>
        </p:nvSpPr>
        <p:spPr>
          <a:xfrm>
            <a:off x="1389111" y="1059595"/>
            <a:ext cx="24806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48"/>
            <a:r>
              <a:rPr lang="ru-RU" sz="1600" b="1" dirty="0">
                <a:gradFill flip="none" rotWithShape="1">
                  <a:gsLst>
                    <a:gs pos="0">
                      <a:schemeClr val="accent3"/>
                    </a:gs>
                    <a:gs pos="97000">
                      <a:schemeClr val="accent1"/>
                    </a:gs>
                  </a:gsLst>
                  <a:lin ang="5400000" scaled="1"/>
                  <a:tileRect/>
                </a:gradFill>
                <a:latin typeface="Arial" panose="020B0604020202020204" pitchFamily="34" charset="0"/>
                <a:cs typeface="Arial" panose="020B0604020202020204" pitchFamily="34" charset="0"/>
              </a:rPr>
              <a:t>1 193 177,72 тыс. руб.  </a:t>
            </a:r>
          </a:p>
        </p:txBody>
      </p:sp>
      <p:cxnSp>
        <p:nvCxnSpPr>
          <p:cNvPr id="97" name="Прямая соединительная линия 96">
            <a:extLst>
              <a:ext uri="{FF2B5EF4-FFF2-40B4-BE49-F238E27FC236}">
                <a16:creationId xmlns:a16="http://schemas.microsoft.com/office/drawing/2014/main" id="{AF9D5F74-0CC6-2356-476D-326EC46952E3}"/>
              </a:ext>
            </a:extLst>
          </p:cNvPr>
          <p:cNvCxnSpPr>
            <a:cxnSpLocks/>
          </p:cNvCxnSpPr>
          <p:nvPr/>
        </p:nvCxnSpPr>
        <p:spPr>
          <a:xfrm flipH="1" flipV="1">
            <a:off x="670759" y="3952061"/>
            <a:ext cx="10572497" cy="1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750236" y="323617"/>
            <a:ext cx="5899470" cy="459206"/>
          </a:xfrm>
        </p:spPr>
        <p:txBody>
          <a:bodyPr/>
          <a:lstStyle/>
          <a:p>
            <a:r>
              <a:rPr lang="ru-RU" sz="2300" dirty="0"/>
              <a:t>Выполнение работ в Киргизии</a:t>
            </a: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41535228-DF9C-413A-85D9-7ECF9777A889}"/>
              </a:ext>
            </a:extLst>
          </p:cNvPr>
          <p:cNvSpPr/>
          <p:nvPr/>
        </p:nvSpPr>
        <p:spPr>
          <a:xfrm>
            <a:off x="830537" y="2011358"/>
            <a:ext cx="636306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ts val="554"/>
              </a:spcBef>
              <a:spcAft>
                <a:spcPct val="0"/>
              </a:spcAft>
            </a:pPr>
            <a:r>
              <a:rPr lang="ru-RU" sz="1400" b="1" dirty="0">
                <a:solidFill>
                  <a:schemeClr val="bg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Контрактный график выполнения работ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7A554D7C-2321-493B-9AF8-BBAD839AFD16}"/>
              </a:ext>
            </a:extLst>
          </p:cNvPr>
          <p:cNvSpPr/>
          <p:nvPr/>
        </p:nvSpPr>
        <p:spPr>
          <a:xfrm>
            <a:off x="2389867" y="3794838"/>
            <a:ext cx="1358838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chemeClr val="bg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03,8 </a:t>
            </a:r>
            <a:r>
              <a:rPr lang="ru-RU" sz="1200" b="1" dirty="0">
                <a:solidFill>
                  <a:schemeClr val="bg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млн руб.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054357A2-51FB-4635-5F9B-AF8603B63668}"/>
              </a:ext>
            </a:extLst>
          </p:cNvPr>
          <p:cNvSpPr/>
          <p:nvPr/>
        </p:nvSpPr>
        <p:spPr>
          <a:xfrm>
            <a:off x="7687946" y="3813829"/>
            <a:ext cx="1283863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chemeClr val="bg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939,3 </a:t>
            </a:r>
            <a:r>
              <a:rPr lang="ru-RU" sz="1200" b="1" dirty="0">
                <a:solidFill>
                  <a:schemeClr val="bg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млн руб.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24F03831-77EC-F8E1-1EB4-65FB2C35D3C4}"/>
              </a:ext>
            </a:extLst>
          </p:cNvPr>
          <p:cNvSpPr txBox="1"/>
          <p:nvPr/>
        </p:nvSpPr>
        <p:spPr>
          <a:xfrm>
            <a:off x="8492030" y="592479"/>
            <a:ext cx="184731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48"/>
            <a:endParaRPr lang="ru-RU" sz="2200" b="1" dirty="0">
              <a:gradFill flip="none" rotWithShape="1">
                <a:gsLst>
                  <a:gs pos="0">
                    <a:schemeClr val="accent3"/>
                  </a:gs>
                  <a:gs pos="97000">
                    <a:schemeClr val="accent1"/>
                  </a:gs>
                </a:gsLst>
                <a:lin ang="5400000" scaled="1"/>
                <a:tileRect/>
              </a:gra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00" name="Прямая соединительная линия 99">
            <a:extLst>
              <a:ext uri="{FF2B5EF4-FFF2-40B4-BE49-F238E27FC236}">
                <a16:creationId xmlns:a16="http://schemas.microsoft.com/office/drawing/2014/main" id="{AF9D5F74-0CC6-2356-476D-326EC46952E3}"/>
              </a:ext>
            </a:extLst>
          </p:cNvPr>
          <p:cNvCxnSpPr>
            <a:cxnSpLocks/>
          </p:cNvCxnSpPr>
          <p:nvPr/>
        </p:nvCxnSpPr>
        <p:spPr>
          <a:xfrm flipH="1">
            <a:off x="670759" y="2006259"/>
            <a:ext cx="10572497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Прямая соединительная линия 104">
            <a:extLst>
              <a:ext uri="{FF2B5EF4-FFF2-40B4-BE49-F238E27FC236}">
                <a16:creationId xmlns:a16="http://schemas.microsoft.com/office/drawing/2014/main" id="{AF9D5F74-0CC6-2356-476D-326EC46952E3}"/>
              </a:ext>
            </a:extLst>
          </p:cNvPr>
          <p:cNvCxnSpPr>
            <a:cxnSpLocks/>
          </p:cNvCxnSpPr>
          <p:nvPr/>
        </p:nvCxnSpPr>
        <p:spPr>
          <a:xfrm flipH="1" flipV="1">
            <a:off x="730265" y="6155687"/>
            <a:ext cx="10559963" cy="11373"/>
          </a:xfrm>
          <a:prstGeom prst="line">
            <a:avLst/>
          </a:prstGeom>
          <a:ln w="1270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Полилиния 115">
            <a:extLst>
              <a:ext uri="{FF2B5EF4-FFF2-40B4-BE49-F238E27FC236}">
                <a16:creationId xmlns:a16="http://schemas.microsoft.com/office/drawing/2014/main" id="{F3399F15-2272-D43C-AD76-0695536878C1}"/>
              </a:ext>
            </a:extLst>
          </p:cNvPr>
          <p:cNvSpPr/>
          <p:nvPr/>
        </p:nvSpPr>
        <p:spPr>
          <a:xfrm>
            <a:off x="11172482" y="145338"/>
            <a:ext cx="720000" cy="720000"/>
          </a:xfrm>
          <a:custGeom>
            <a:avLst/>
            <a:gdLst>
              <a:gd name="connsiteX0" fmla="*/ 70469 w 360606"/>
              <a:gd name="connsiteY0" fmla="*/ 240819 h 360583"/>
              <a:gd name="connsiteX1" fmla="*/ 176281 w 360606"/>
              <a:gd name="connsiteY1" fmla="*/ 247815 h 360583"/>
              <a:gd name="connsiteX2" fmla="*/ 225231 w 360606"/>
              <a:gd name="connsiteY2" fmla="*/ 252840 h 360583"/>
              <a:gd name="connsiteX3" fmla="*/ 201443 w 360606"/>
              <a:gd name="connsiteY3" fmla="*/ 359403 h 360583"/>
              <a:gd name="connsiteX4" fmla="*/ 110158 w 360606"/>
              <a:gd name="connsiteY4" fmla="*/ 346288 h 360583"/>
              <a:gd name="connsiteX5" fmla="*/ 70469 w 360606"/>
              <a:gd name="connsiteY5" fmla="*/ 240819 h 360583"/>
              <a:gd name="connsiteX6" fmla="*/ 360606 w 360606"/>
              <a:gd name="connsiteY6" fmla="*/ 195902 h 360583"/>
              <a:gd name="connsiteX7" fmla="*/ 337123 w 360606"/>
              <a:gd name="connsiteY7" fmla="*/ 270459 h 360583"/>
              <a:gd name="connsiteX8" fmla="*/ 210818 w 360606"/>
              <a:gd name="connsiteY8" fmla="*/ 358016 h 360583"/>
              <a:gd name="connsiteX9" fmla="*/ 233067 w 360606"/>
              <a:gd name="connsiteY9" fmla="*/ 258094 h 360583"/>
              <a:gd name="connsiteX10" fmla="*/ 287766 w 360606"/>
              <a:gd name="connsiteY10" fmla="*/ 253807 h 360583"/>
              <a:gd name="connsiteX11" fmla="*/ 360606 w 360606"/>
              <a:gd name="connsiteY11" fmla="*/ 195902 h 360583"/>
              <a:gd name="connsiteX12" fmla="*/ 180300 w 360606"/>
              <a:gd name="connsiteY12" fmla="*/ 142474 h 360583"/>
              <a:gd name="connsiteX13" fmla="*/ 180351 w 360606"/>
              <a:gd name="connsiteY13" fmla="*/ 142474 h 360583"/>
              <a:gd name="connsiteX14" fmla="*/ 218183 w 360606"/>
              <a:gd name="connsiteY14" fmla="*/ 180331 h 360583"/>
              <a:gd name="connsiteX15" fmla="*/ 180326 w 360606"/>
              <a:gd name="connsiteY15" fmla="*/ 218214 h 360583"/>
              <a:gd name="connsiteX16" fmla="*/ 142443 w 360606"/>
              <a:gd name="connsiteY16" fmla="*/ 180357 h 360583"/>
              <a:gd name="connsiteX17" fmla="*/ 180300 w 360606"/>
              <a:gd name="connsiteY17" fmla="*/ 142474 h 360583"/>
              <a:gd name="connsiteX18" fmla="*/ 11355 w 360606"/>
              <a:gd name="connsiteY18" fmla="*/ 117528 h 360583"/>
              <a:gd name="connsiteX19" fmla="*/ 86930 w 360606"/>
              <a:gd name="connsiteY19" fmla="*/ 186729 h 360583"/>
              <a:gd name="connsiteX20" fmla="*/ 63282 w 360606"/>
              <a:gd name="connsiteY20" fmla="*/ 236150 h 360583"/>
              <a:gd name="connsiteX21" fmla="*/ 77084 w 360606"/>
              <a:gd name="connsiteY21" fmla="*/ 328083 h 360583"/>
              <a:gd name="connsiteX22" fmla="*/ 24191 w 360606"/>
              <a:gd name="connsiteY22" fmla="*/ 270433 h 360583"/>
              <a:gd name="connsiteX23" fmla="*/ 11355 w 360606"/>
              <a:gd name="connsiteY23" fmla="*/ 117528 h 360583"/>
              <a:gd name="connsiteX24" fmla="*/ 325674 w 360606"/>
              <a:gd name="connsiteY24" fmla="*/ 72764 h 360583"/>
              <a:gd name="connsiteX25" fmla="*/ 359893 w 360606"/>
              <a:gd name="connsiteY25" fmla="*/ 158261 h 360583"/>
              <a:gd name="connsiteX26" fmla="*/ 288313 w 360606"/>
              <a:gd name="connsiteY26" fmla="*/ 245297 h 360583"/>
              <a:gd name="connsiteX27" fmla="*/ 241475 w 360606"/>
              <a:gd name="connsiteY27" fmla="*/ 150323 h 360583"/>
              <a:gd name="connsiteX28" fmla="*/ 221363 w 360606"/>
              <a:gd name="connsiteY28" fmla="*/ 105482 h 360583"/>
              <a:gd name="connsiteX29" fmla="*/ 325674 w 360606"/>
              <a:gd name="connsiteY29" fmla="*/ 72764 h 360583"/>
              <a:gd name="connsiteX30" fmla="*/ 100647 w 360606"/>
              <a:gd name="connsiteY30" fmla="*/ 25566 h 360583"/>
              <a:gd name="connsiteX31" fmla="*/ 183226 w 360606"/>
              <a:gd name="connsiteY31" fmla="*/ 54777 h 360583"/>
              <a:gd name="connsiteX32" fmla="*/ 124265 w 360606"/>
              <a:gd name="connsiteY32" fmla="*/ 142754 h 360583"/>
              <a:gd name="connsiteX33" fmla="*/ 95427 w 360606"/>
              <a:gd name="connsiteY33" fmla="*/ 182570 h 360583"/>
              <a:gd name="connsiteX34" fmla="*/ 14891 w 360606"/>
              <a:gd name="connsiteY34" fmla="*/ 108726 h 360583"/>
              <a:gd name="connsiteX35" fmla="*/ 71919 w 360606"/>
              <a:gd name="connsiteY35" fmla="*/ 36357 h 360583"/>
              <a:gd name="connsiteX36" fmla="*/ 100647 w 360606"/>
              <a:gd name="connsiteY36" fmla="*/ 25566 h 360583"/>
              <a:gd name="connsiteX37" fmla="*/ 180656 w 360606"/>
              <a:gd name="connsiteY37" fmla="*/ 0 h 360583"/>
              <a:gd name="connsiteX38" fmla="*/ 319746 w 360606"/>
              <a:gd name="connsiteY38" fmla="*/ 65309 h 360583"/>
              <a:gd name="connsiteX39" fmla="*/ 221897 w 360606"/>
              <a:gd name="connsiteY39" fmla="*/ 96055 h 360583"/>
              <a:gd name="connsiteX40" fmla="*/ 190846 w 360606"/>
              <a:gd name="connsiteY40" fmla="*/ 50934 h 360583"/>
              <a:gd name="connsiteX41" fmla="*/ 104204 w 360606"/>
              <a:gd name="connsiteY41" fmla="*/ 16906 h 360583"/>
              <a:gd name="connsiteX42" fmla="*/ 180656 w 360606"/>
              <a:gd name="connsiteY42" fmla="*/ 0 h 360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360606" h="360583">
                <a:moveTo>
                  <a:pt x="70469" y="240819"/>
                </a:moveTo>
                <a:cubicBezTo>
                  <a:pt x="97539" y="256199"/>
                  <a:pt x="138691" y="256364"/>
                  <a:pt x="176281" y="247815"/>
                </a:cubicBezTo>
                <a:cubicBezTo>
                  <a:pt x="206951" y="240819"/>
                  <a:pt x="220384" y="248490"/>
                  <a:pt x="225231" y="252840"/>
                </a:cubicBezTo>
                <a:cubicBezTo>
                  <a:pt x="187348" y="298444"/>
                  <a:pt x="197143" y="344583"/>
                  <a:pt x="201443" y="359403"/>
                </a:cubicBezTo>
                <a:cubicBezTo>
                  <a:pt x="170392" y="362961"/>
                  <a:pt x="138950" y="358442"/>
                  <a:pt x="110158" y="346288"/>
                </a:cubicBezTo>
                <a:cubicBezTo>
                  <a:pt x="71982" y="325934"/>
                  <a:pt x="60381" y="280775"/>
                  <a:pt x="70469" y="240819"/>
                </a:cubicBezTo>
                <a:close/>
                <a:moveTo>
                  <a:pt x="360606" y="195902"/>
                </a:moveTo>
                <a:cubicBezTo>
                  <a:pt x="358360" y="222179"/>
                  <a:pt x="350340" y="247636"/>
                  <a:pt x="337123" y="270459"/>
                </a:cubicBezTo>
                <a:cubicBezTo>
                  <a:pt x="310202" y="317035"/>
                  <a:pt x="263879" y="349148"/>
                  <a:pt x="210818" y="358016"/>
                </a:cubicBezTo>
                <a:cubicBezTo>
                  <a:pt x="204725" y="339012"/>
                  <a:pt x="200145" y="297033"/>
                  <a:pt x="233067" y="258094"/>
                </a:cubicBezTo>
                <a:cubicBezTo>
                  <a:pt x="253420" y="259583"/>
                  <a:pt x="271700" y="258196"/>
                  <a:pt x="287766" y="253807"/>
                </a:cubicBezTo>
                <a:cubicBezTo>
                  <a:pt x="320357" y="245284"/>
                  <a:pt x="347885" y="224193"/>
                  <a:pt x="360606" y="195902"/>
                </a:cubicBezTo>
                <a:close/>
                <a:moveTo>
                  <a:pt x="180300" y="142474"/>
                </a:moveTo>
                <a:cubicBezTo>
                  <a:pt x="180317" y="142474"/>
                  <a:pt x="180335" y="142474"/>
                  <a:pt x="180351" y="142474"/>
                </a:cubicBezTo>
                <a:cubicBezTo>
                  <a:pt x="201249" y="142488"/>
                  <a:pt x="218183" y="159433"/>
                  <a:pt x="218183" y="180331"/>
                </a:cubicBezTo>
                <a:cubicBezTo>
                  <a:pt x="218191" y="201247"/>
                  <a:pt x="201241" y="218206"/>
                  <a:pt x="180326" y="218214"/>
                </a:cubicBezTo>
                <a:cubicBezTo>
                  <a:pt x="159410" y="218220"/>
                  <a:pt x="142451" y="201271"/>
                  <a:pt x="142443" y="180357"/>
                </a:cubicBezTo>
                <a:cubicBezTo>
                  <a:pt x="142435" y="159441"/>
                  <a:pt x="159386" y="142482"/>
                  <a:pt x="180300" y="142474"/>
                </a:cubicBezTo>
                <a:close/>
                <a:moveTo>
                  <a:pt x="11355" y="117528"/>
                </a:moveTo>
                <a:cubicBezTo>
                  <a:pt x="30958" y="121777"/>
                  <a:pt x="69604" y="138797"/>
                  <a:pt x="86930" y="186729"/>
                </a:cubicBezTo>
                <a:cubicBezTo>
                  <a:pt x="75507" y="203534"/>
                  <a:pt x="67531" y="220071"/>
                  <a:pt x="63282" y="236150"/>
                </a:cubicBezTo>
                <a:cubicBezTo>
                  <a:pt x="54390" y="268588"/>
                  <a:pt x="58880" y="302973"/>
                  <a:pt x="77084" y="328083"/>
                </a:cubicBezTo>
                <a:cubicBezTo>
                  <a:pt x="55436" y="312981"/>
                  <a:pt x="37377" y="293298"/>
                  <a:pt x="24191" y="270433"/>
                </a:cubicBezTo>
                <a:cubicBezTo>
                  <a:pt x="-2731" y="223946"/>
                  <a:pt x="-7440" y="167852"/>
                  <a:pt x="11355" y="117528"/>
                </a:cubicBezTo>
                <a:close/>
                <a:moveTo>
                  <a:pt x="325674" y="72764"/>
                </a:moveTo>
                <a:cubicBezTo>
                  <a:pt x="344271" y="97831"/>
                  <a:pt x="356060" y="127286"/>
                  <a:pt x="359893" y="158261"/>
                </a:cubicBezTo>
                <a:cubicBezTo>
                  <a:pt x="361292" y="201435"/>
                  <a:pt x="327964" y="234064"/>
                  <a:pt x="288313" y="245297"/>
                </a:cubicBezTo>
                <a:cubicBezTo>
                  <a:pt x="288122" y="214207"/>
                  <a:pt x="267692" y="178551"/>
                  <a:pt x="241475" y="150323"/>
                </a:cubicBezTo>
                <a:cubicBezTo>
                  <a:pt x="220091" y="127298"/>
                  <a:pt x="220015" y="111842"/>
                  <a:pt x="221363" y="105482"/>
                </a:cubicBezTo>
                <a:cubicBezTo>
                  <a:pt x="279879" y="115442"/>
                  <a:pt x="314963" y="83895"/>
                  <a:pt x="325674" y="72764"/>
                </a:cubicBezTo>
                <a:close/>
                <a:moveTo>
                  <a:pt x="100647" y="25566"/>
                </a:moveTo>
                <a:cubicBezTo>
                  <a:pt x="130180" y="20809"/>
                  <a:pt x="161025" y="33253"/>
                  <a:pt x="183226" y="54777"/>
                </a:cubicBezTo>
                <a:cubicBezTo>
                  <a:pt x="156360" y="70487"/>
                  <a:pt x="135637" y="105978"/>
                  <a:pt x="124265" y="142754"/>
                </a:cubicBezTo>
                <a:cubicBezTo>
                  <a:pt x="114991" y="172775"/>
                  <a:pt x="101622" y="180548"/>
                  <a:pt x="95427" y="182570"/>
                </a:cubicBezTo>
                <a:cubicBezTo>
                  <a:pt x="74819" y="127006"/>
                  <a:pt x="29889" y="112415"/>
                  <a:pt x="14891" y="108726"/>
                </a:cubicBezTo>
                <a:cubicBezTo>
                  <a:pt x="27329" y="80081"/>
                  <a:pt x="46977" y="55148"/>
                  <a:pt x="71919" y="36357"/>
                </a:cubicBezTo>
                <a:cubicBezTo>
                  <a:pt x="81103" y="30648"/>
                  <a:pt x="90802" y="27152"/>
                  <a:pt x="100647" y="25566"/>
                </a:cubicBezTo>
                <a:close/>
                <a:moveTo>
                  <a:pt x="180656" y="0"/>
                </a:moveTo>
                <a:cubicBezTo>
                  <a:pt x="234439" y="-61"/>
                  <a:pt x="285442" y="23887"/>
                  <a:pt x="319746" y="65309"/>
                </a:cubicBezTo>
                <a:cubicBezTo>
                  <a:pt x="306300" y="80141"/>
                  <a:pt x="272246" y="105036"/>
                  <a:pt x="221897" y="96055"/>
                </a:cubicBezTo>
                <a:cubicBezTo>
                  <a:pt x="213069" y="77801"/>
                  <a:pt x="202689" y="62638"/>
                  <a:pt x="190846" y="50934"/>
                </a:cubicBezTo>
                <a:cubicBezTo>
                  <a:pt x="167159" y="27083"/>
                  <a:pt x="135090" y="13726"/>
                  <a:pt x="104204" y="16906"/>
                </a:cubicBezTo>
                <a:cubicBezTo>
                  <a:pt x="128142" y="5738"/>
                  <a:pt x="154241" y="-34"/>
                  <a:pt x="180656" y="0"/>
                </a:cubicBezTo>
                <a:close/>
              </a:path>
            </a:pathLst>
          </a:custGeom>
          <a:solidFill>
            <a:schemeClr val="accent2"/>
          </a:solidFill>
          <a:ln w="124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17" name="TextBox 116"/>
          <p:cNvSpPr txBox="1"/>
          <p:nvPr/>
        </p:nvSpPr>
        <p:spPr>
          <a:xfrm>
            <a:off x="10936822" y="867283"/>
            <a:ext cx="119131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500" b="1" dirty="0"/>
              <a:t>РОС</a:t>
            </a:r>
            <a:r>
              <a:rPr lang="ru-RU" sz="1500" dirty="0"/>
              <a:t>АТОМ</a:t>
            </a:r>
          </a:p>
        </p:txBody>
      </p:sp>
      <p:sp>
        <p:nvSpPr>
          <p:cNvPr id="109" name="Rectangle 20">
            <a:extLst>
              <a:ext uri="{FF2B5EF4-FFF2-40B4-BE49-F238E27FC236}">
                <a16:creationId xmlns:a16="http://schemas.microsoft.com/office/drawing/2014/main" id="{E0161FC4-FA61-4192-85E7-6F8E34F02288}"/>
              </a:ext>
            </a:extLst>
          </p:cNvPr>
          <p:cNvSpPr/>
          <p:nvPr/>
        </p:nvSpPr>
        <p:spPr>
          <a:xfrm>
            <a:off x="860574" y="2371271"/>
            <a:ext cx="83869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cs typeface="Arial" charset="0"/>
              </a:rPr>
              <a:t>I </a:t>
            </a:r>
            <a:r>
              <a:rPr lang="ru-RU" sz="1000" b="1" dirty="0">
                <a:solidFill>
                  <a:schemeClr val="bg1">
                    <a:lumMod val="50000"/>
                  </a:schemeClr>
                </a:solidFill>
                <a:cs typeface="Arial" charset="0"/>
              </a:rPr>
              <a:t>кв. 2022 г</a:t>
            </a:r>
            <a:endParaRPr lang="en-US" sz="1000" b="1" dirty="0">
              <a:solidFill>
                <a:schemeClr val="bg1">
                  <a:lumMod val="50000"/>
                </a:schemeClr>
              </a:solidFill>
              <a:cs typeface="Arial" charset="0"/>
            </a:endParaRPr>
          </a:p>
        </p:txBody>
      </p:sp>
      <p:sp>
        <p:nvSpPr>
          <p:cNvPr id="110" name="Rectangle 20">
            <a:extLst>
              <a:ext uri="{FF2B5EF4-FFF2-40B4-BE49-F238E27FC236}">
                <a16:creationId xmlns:a16="http://schemas.microsoft.com/office/drawing/2014/main" id="{6E944AF5-D348-4642-9678-CFAC1610DB06}"/>
              </a:ext>
            </a:extLst>
          </p:cNvPr>
          <p:cNvSpPr/>
          <p:nvPr/>
        </p:nvSpPr>
        <p:spPr>
          <a:xfrm>
            <a:off x="5899091" y="2381458"/>
            <a:ext cx="83869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cs typeface="Arial" charset="0"/>
              </a:rPr>
              <a:t>I </a:t>
            </a:r>
            <a:r>
              <a:rPr lang="ru-RU" sz="1000" b="1" dirty="0">
                <a:solidFill>
                  <a:schemeClr val="bg1">
                    <a:lumMod val="50000"/>
                  </a:schemeClr>
                </a:solidFill>
                <a:cs typeface="Arial" charset="0"/>
              </a:rPr>
              <a:t>кв. 2023 г</a:t>
            </a:r>
            <a:endParaRPr lang="en-US" sz="1000" b="1" dirty="0">
              <a:solidFill>
                <a:schemeClr val="bg1">
                  <a:lumMod val="50000"/>
                </a:schemeClr>
              </a:solidFill>
              <a:cs typeface="Arial" charset="0"/>
            </a:endParaRPr>
          </a:p>
        </p:txBody>
      </p:sp>
      <p:sp>
        <p:nvSpPr>
          <p:cNvPr id="118" name="Rectangle 20">
            <a:extLst>
              <a:ext uri="{FF2B5EF4-FFF2-40B4-BE49-F238E27FC236}">
                <a16:creationId xmlns:a16="http://schemas.microsoft.com/office/drawing/2014/main" id="{7C6CB69D-5843-4D45-9931-88B93ACB707C}"/>
              </a:ext>
            </a:extLst>
          </p:cNvPr>
          <p:cNvSpPr/>
          <p:nvPr/>
        </p:nvSpPr>
        <p:spPr>
          <a:xfrm>
            <a:off x="1922108" y="2383962"/>
            <a:ext cx="87395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cs typeface="Arial" charset="0"/>
              </a:rPr>
              <a:t>II </a:t>
            </a:r>
            <a:r>
              <a:rPr lang="ru-RU" sz="1000" b="1" dirty="0">
                <a:solidFill>
                  <a:schemeClr val="bg1">
                    <a:lumMod val="50000"/>
                  </a:schemeClr>
                </a:solidFill>
                <a:cs typeface="Arial" charset="0"/>
              </a:rPr>
              <a:t>кв. 2022 г</a:t>
            </a:r>
            <a:endParaRPr lang="en-US" sz="1000" b="1" dirty="0">
              <a:solidFill>
                <a:schemeClr val="bg1">
                  <a:lumMod val="50000"/>
                </a:schemeClr>
              </a:solidFill>
              <a:cs typeface="Arial" charset="0"/>
            </a:endParaRPr>
          </a:p>
        </p:txBody>
      </p:sp>
      <p:sp>
        <p:nvSpPr>
          <p:cNvPr id="119" name="Rectangle 20">
            <a:extLst>
              <a:ext uri="{FF2B5EF4-FFF2-40B4-BE49-F238E27FC236}">
                <a16:creationId xmlns:a16="http://schemas.microsoft.com/office/drawing/2014/main" id="{6387C0A5-5023-4E72-84EB-F88E037F74D1}"/>
              </a:ext>
            </a:extLst>
          </p:cNvPr>
          <p:cNvSpPr/>
          <p:nvPr/>
        </p:nvSpPr>
        <p:spPr>
          <a:xfrm>
            <a:off x="3099703" y="2383962"/>
            <a:ext cx="90922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cs typeface="Arial" charset="0"/>
              </a:rPr>
              <a:t>III </a:t>
            </a:r>
            <a:r>
              <a:rPr lang="ru-RU" sz="1000" b="1" dirty="0">
                <a:solidFill>
                  <a:schemeClr val="bg1">
                    <a:lumMod val="50000"/>
                  </a:schemeClr>
                </a:solidFill>
                <a:cs typeface="Arial" charset="0"/>
              </a:rPr>
              <a:t>кв. 202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cs typeface="Arial" charset="0"/>
              </a:rPr>
              <a:t>2</a:t>
            </a:r>
            <a:r>
              <a:rPr lang="ru-RU" sz="1000" b="1" dirty="0">
                <a:solidFill>
                  <a:schemeClr val="bg1">
                    <a:lumMod val="50000"/>
                  </a:schemeClr>
                </a:solidFill>
                <a:cs typeface="Arial" charset="0"/>
              </a:rPr>
              <a:t> г</a:t>
            </a:r>
            <a:endParaRPr lang="en-US" sz="1000" b="1" dirty="0">
              <a:solidFill>
                <a:schemeClr val="bg1">
                  <a:lumMod val="50000"/>
                </a:schemeClr>
              </a:solidFill>
              <a:cs typeface="Arial" charset="0"/>
            </a:endParaRPr>
          </a:p>
        </p:txBody>
      </p:sp>
      <p:sp>
        <p:nvSpPr>
          <p:cNvPr id="120" name="Rectangle 20">
            <a:extLst>
              <a:ext uri="{FF2B5EF4-FFF2-40B4-BE49-F238E27FC236}">
                <a16:creationId xmlns:a16="http://schemas.microsoft.com/office/drawing/2014/main" id="{2204C189-CEDA-4F8E-B054-6D1C98FD9505}"/>
              </a:ext>
            </a:extLst>
          </p:cNvPr>
          <p:cNvSpPr/>
          <p:nvPr/>
        </p:nvSpPr>
        <p:spPr>
          <a:xfrm>
            <a:off x="4500014" y="2383469"/>
            <a:ext cx="92365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cs typeface="Arial" charset="0"/>
              </a:rPr>
              <a:t>IV</a:t>
            </a:r>
            <a:r>
              <a:rPr lang="ru-RU" sz="1000" b="1" dirty="0">
                <a:solidFill>
                  <a:schemeClr val="bg1">
                    <a:lumMod val="50000"/>
                  </a:schemeClr>
                </a:solidFill>
                <a:cs typeface="Arial" charset="0"/>
              </a:rPr>
              <a:t> кв. 202</a:t>
            </a: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cs typeface="Arial" charset="0"/>
              </a:rPr>
              <a:t>2</a:t>
            </a:r>
            <a:r>
              <a:rPr lang="ru-RU" sz="1000" b="1" dirty="0">
                <a:solidFill>
                  <a:schemeClr val="bg1">
                    <a:lumMod val="50000"/>
                  </a:schemeClr>
                </a:solidFill>
                <a:cs typeface="Arial" charset="0"/>
              </a:rPr>
              <a:t> г</a:t>
            </a:r>
            <a:endParaRPr lang="en-US" sz="1000" b="1" dirty="0">
              <a:solidFill>
                <a:schemeClr val="bg1">
                  <a:lumMod val="50000"/>
                </a:schemeClr>
              </a:solidFill>
              <a:cs typeface="Arial" charset="0"/>
            </a:endParaRPr>
          </a:p>
        </p:txBody>
      </p:sp>
      <p:sp>
        <p:nvSpPr>
          <p:cNvPr id="121" name="Rectangle 20">
            <a:extLst>
              <a:ext uri="{FF2B5EF4-FFF2-40B4-BE49-F238E27FC236}">
                <a16:creationId xmlns:a16="http://schemas.microsoft.com/office/drawing/2014/main" id="{656D98B6-4DE9-4B38-810B-CECCB87F97DF}"/>
              </a:ext>
            </a:extLst>
          </p:cNvPr>
          <p:cNvSpPr/>
          <p:nvPr/>
        </p:nvSpPr>
        <p:spPr>
          <a:xfrm>
            <a:off x="7284577" y="2397079"/>
            <a:ext cx="87395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cs typeface="Arial" charset="0"/>
              </a:rPr>
              <a:t>II </a:t>
            </a:r>
            <a:r>
              <a:rPr lang="ru-RU" sz="1000" b="1" dirty="0">
                <a:solidFill>
                  <a:schemeClr val="bg1">
                    <a:lumMod val="50000"/>
                  </a:schemeClr>
                </a:solidFill>
                <a:cs typeface="Arial" charset="0"/>
              </a:rPr>
              <a:t>кв. 2023 г</a:t>
            </a:r>
            <a:endParaRPr lang="en-US" sz="1000" b="1" dirty="0">
              <a:solidFill>
                <a:schemeClr val="bg1">
                  <a:lumMod val="50000"/>
                </a:schemeClr>
              </a:solidFill>
              <a:cs typeface="Arial" charset="0"/>
            </a:endParaRPr>
          </a:p>
        </p:txBody>
      </p:sp>
      <p:sp>
        <p:nvSpPr>
          <p:cNvPr id="122" name="Rectangle 20">
            <a:extLst>
              <a:ext uri="{FF2B5EF4-FFF2-40B4-BE49-F238E27FC236}">
                <a16:creationId xmlns:a16="http://schemas.microsoft.com/office/drawing/2014/main" id="{656D98B6-4DE9-4B38-810B-CECCB87F97DF}"/>
              </a:ext>
            </a:extLst>
          </p:cNvPr>
          <p:cNvSpPr/>
          <p:nvPr/>
        </p:nvSpPr>
        <p:spPr>
          <a:xfrm>
            <a:off x="8628817" y="2385314"/>
            <a:ext cx="90922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cs typeface="Arial" charset="0"/>
              </a:rPr>
              <a:t>III </a:t>
            </a:r>
            <a:r>
              <a:rPr lang="ru-RU" sz="1000" b="1" dirty="0">
                <a:solidFill>
                  <a:schemeClr val="bg1">
                    <a:lumMod val="50000"/>
                  </a:schemeClr>
                </a:solidFill>
                <a:cs typeface="Arial" charset="0"/>
              </a:rPr>
              <a:t>кв. 2023 г</a:t>
            </a:r>
            <a:endParaRPr lang="en-US" sz="1000" b="1" dirty="0">
              <a:solidFill>
                <a:schemeClr val="bg1">
                  <a:lumMod val="50000"/>
                </a:schemeClr>
              </a:solidFill>
              <a:cs typeface="Arial" charset="0"/>
            </a:endParaRPr>
          </a:p>
        </p:txBody>
      </p:sp>
      <p:sp>
        <p:nvSpPr>
          <p:cNvPr id="123" name="Rectangle 20">
            <a:extLst>
              <a:ext uri="{FF2B5EF4-FFF2-40B4-BE49-F238E27FC236}">
                <a16:creationId xmlns:a16="http://schemas.microsoft.com/office/drawing/2014/main" id="{656D98B6-4DE9-4B38-810B-CECCB87F97DF}"/>
              </a:ext>
            </a:extLst>
          </p:cNvPr>
          <p:cNvSpPr/>
          <p:nvPr/>
        </p:nvSpPr>
        <p:spPr>
          <a:xfrm>
            <a:off x="9871149" y="2380160"/>
            <a:ext cx="92365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cs typeface="Arial" charset="0"/>
              </a:rPr>
              <a:t>IV </a:t>
            </a:r>
            <a:r>
              <a:rPr lang="ru-RU" sz="1000" b="1" dirty="0">
                <a:solidFill>
                  <a:schemeClr val="bg1">
                    <a:lumMod val="50000"/>
                  </a:schemeClr>
                </a:solidFill>
                <a:cs typeface="Arial" charset="0"/>
              </a:rPr>
              <a:t>кв. 2023 г</a:t>
            </a:r>
            <a:endParaRPr lang="en-US" sz="1000" b="1" dirty="0">
              <a:solidFill>
                <a:schemeClr val="bg1">
                  <a:lumMod val="50000"/>
                </a:schemeClr>
              </a:solidFill>
              <a:cs typeface="Arial" charset="0"/>
            </a:endParaRPr>
          </a:p>
        </p:txBody>
      </p:sp>
      <p:sp>
        <p:nvSpPr>
          <p:cNvPr id="154" name="Прямоугольник 153"/>
          <p:cNvSpPr/>
          <p:nvPr/>
        </p:nvSpPr>
        <p:spPr>
          <a:xfrm>
            <a:off x="1772801" y="2987814"/>
            <a:ext cx="118764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Мониторинг оползня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300" dirty="0" smtClean="0">
              <a:solidFill>
                <a:schemeClr val="bg1">
                  <a:lumMod val="50000"/>
                </a:schemeClr>
              </a:solidFill>
              <a:latin typeface="Arial" charset="0"/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Инженерная площадка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«Талды-Булак»</a:t>
            </a:r>
            <a:endParaRPr lang="ru-RU" sz="700" dirty="0">
              <a:solidFill>
                <a:schemeClr val="bg1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55" name="Прямоугольник 154"/>
          <p:cNvSpPr/>
          <p:nvPr/>
        </p:nvSpPr>
        <p:spPr>
          <a:xfrm>
            <a:off x="809329" y="2983870"/>
            <a:ext cx="112535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Строительство мостов через реку Туюк-Суу</a:t>
            </a:r>
            <a:endParaRPr lang="ru-RU" sz="700" dirty="0">
              <a:solidFill>
                <a:schemeClr val="bg1">
                  <a:lumMod val="50000"/>
                </a:schemeClr>
              </a:solidFill>
              <a:latin typeface="Arial" charset="0"/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700" dirty="0">
              <a:solidFill>
                <a:schemeClr val="bg1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56" name="Прямоугольник 155"/>
          <p:cNvSpPr/>
          <p:nvPr/>
        </p:nvSpPr>
        <p:spPr>
          <a:xfrm>
            <a:off x="2993735" y="2976389"/>
            <a:ext cx="1539662" cy="569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Система водоотведения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На «Талды-Булак»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300" dirty="0" smtClean="0">
              <a:solidFill>
                <a:schemeClr val="bg1">
                  <a:lumMod val="50000"/>
                </a:schemeClr>
              </a:solidFill>
              <a:latin typeface="Arial" charset="0"/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Н</a:t>
            </a:r>
            <a:r>
              <a:rPr lang="ru-RU" sz="7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ачало разработки отходов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н</a:t>
            </a:r>
            <a:r>
              <a:rPr lang="ru-RU" sz="7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а «Туюк-Суу»</a:t>
            </a:r>
            <a:endParaRPr lang="ru-RU" sz="700" dirty="0">
              <a:solidFill>
                <a:schemeClr val="bg1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57" name="Прямоугольник 156"/>
          <p:cNvSpPr/>
          <p:nvPr/>
        </p:nvSpPr>
        <p:spPr>
          <a:xfrm>
            <a:off x="4301435" y="2988295"/>
            <a:ext cx="15396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Начало разработки отходов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На «Талды-Булак»</a:t>
            </a:r>
            <a:endParaRPr lang="ru-RU" sz="700" dirty="0">
              <a:solidFill>
                <a:schemeClr val="bg1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58" name="Прямоугольник 157"/>
          <p:cNvSpPr/>
          <p:nvPr/>
        </p:nvSpPr>
        <p:spPr>
          <a:xfrm>
            <a:off x="5729760" y="2988295"/>
            <a:ext cx="1293331" cy="569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С «Туюк-Суу» вывезено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10% отходов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300" dirty="0">
              <a:solidFill>
                <a:schemeClr val="bg1">
                  <a:lumMod val="50000"/>
                </a:schemeClr>
              </a:solidFill>
              <a:latin typeface="Arial" charset="0"/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С «Талды-Булак» вывезено 10% отходов</a:t>
            </a:r>
            <a:endParaRPr lang="ru-RU" sz="700" dirty="0">
              <a:solidFill>
                <a:schemeClr val="bg1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cxnSp>
        <p:nvCxnSpPr>
          <p:cNvPr id="4" name="Straight Connector 19">
            <a:extLst>
              <a:ext uri="{FF2B5EF4-FFF2-40B4-BE49-F238E27FC236}">
                <a16:creationId xmlns:a16="http://schemas.microsoft.com/office/drawing/2014/main" id="{875B88E0-C80E-1CAF-EBE2-D624ECBEC844}"/>
              </a:ext>
            </a:extLst>
          </p:cNvPr>
          <p:cNvCxnSpPr>
            <a:cxnSpLocks/>
          </p:cNvCxnSpPr>
          <p:nvPr/>
        </p:nvCxnSpPr>
        <p:spPr>
          <a:xfrm flipH="1">
            <a:off x="724977" y="2812211"/>
            <a:ext cx="10518279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Овал 6">
            <a:extLst>
              <a:ext uri="{FF2B5EF4-FFF2-40B4-BE49-F238E27FC236}">
                <a16:creationId xmlns:a16="http://schemas.microsoft.com/office/drawing/2014/main" id="{F946D82F-50E3-D3D9-3B27-13D99F196A91}"/>
              </a:ext>
            </a:extLst>
          </p:cNvPr>
          <p:cNvSpPr/>
          <p:nvPr/>
        </p:nvSpPr>
        <p:spPr>
          <a:xfrm>
            <a:off x="1093132" y="2731211"/>
            <a:ext cx="162000" cy="162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333333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B17B903-1C05-08EC-3D74-1A6B6027B6D1}"/>
              </a:ext>
            </a:extLst>
          </p:cNvPr>
          <p:cNvSpPr txBox="1"/>
          <p:nvPr/>
        </p:nvSpPr>
        <p:spPr>
          <a:xfrm>
            <a:off x="1389111" y="728742"/>
            <a:ext cx="27630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48"/>
            <a:r>
              <a:rPr lang="ru-RU" b="1" dirty="0">
                <a:gradFill flip="none" rotWithShape="1">
                  <a:gsLst>
                    <a:gs pos="0">
                      <a:schemeClr val="accent3"/>
                    </a:gs>
                    <a:gs pos="97000">
                      <a:schemeClr val="accent1"/>
                    </a:gs>
                  </a:gsLst>
                  <a:lin ang="5400000" scaled="1"/>
                  <a:tileRect/>
                </a:gradFill>
                <a:latin typeface="Arial" panose="020B0604020202020204" pitchFamily="34" charset="0"/>
                <a:cs typeface="Arial" panose="020B0604020202020204" pitchFamily="34" charset="0"/>
              </a:rPr>
              <a:t>Стоимость контракта 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031469C-7A97-39FC-F76B-4F0F19020C4F}"/>
              </a:ext>
            </a:extLst>
          </p:cNvPr>
          <p:cNvSpPr txBox="1"/>
          <p:nvPr/>
        </p:nvSpPr>
        <p:spPr>
          <a:xfrm>
            <a:off x="5656208" y="734146"/>
            <a:ext cx="29160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48"/>
            <a:r>
              <a:rPr lang="ru-RU" b="1" dirty="0">
                <a:gradFill flip="none" rotWithShape="1">
                  <a:gsLst>
                    <a:gs pos="0">
                      <a:schemeClr val="accent3"/>
                    </a:gs>
                    <a:gs pos="97000">
                      <a:schemeClr val="accent1"/>
                    </a:gs>
                  </a:gsLst>
                  <a:lin ang="5400000" scaled="1"/>
                  <a:tileRect/>
                </a:gradFill>
                <a:latin typeface="Arial" panose="020B0604020202020204" pitchFamily="34" charset="0"/>
                <a:cs typeface="Arial" panose="020B0604020202020204" pitchFamily="34" charset="0"/>
              </a:rPr>
              <a:t>Выполняемые работы 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B6DE88A-EF5B-BAF0-0E0D-04AF85B3E952}"/>
              </a:ext>
            </a:extLst>
          </p:cNvPr>
          <p:cNvSpPr txBox="1"/>
          <p:nvPr/>
        </p:nvSpPr>
        <p:spPr>
          <a:xfrm>
            <a:off x="5654893" y="1016707"/>
            <a:ext cx="4512774" cy="9387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48"/>
            <a:r>
              <a:rPr lang="ru-RU" sz="1100" dirty="0">
                <a:gradFill flip="none" rotWithShape="1">
                  <a:gsLst>
                    <a:gs pos="0">
                      <a:schemeClr val="accent3"/>
                    </a:gs>
                    <a:gs pos="97000">
                      <a:schemeClr val="accent1"/>
                    </a:gs>
                  </a:gsLst>
                  <a:lin ang="5400000" scaled="1"/>
                  <a:tileRect/>
                </a:gradFill>
                <a:latin typeface="Arial" panose="020B0604020202020204" pitchFamily="34" charset="0"/>
                <a:cs typeface="Arial" panose="020B0604020202020204" pitchFamily="34" charset="0"/>
              </a:rPr>
              <a:t>Строительство 2-х мостов</a:t>
            </a:r>
          </a:p>
          <a:p>
            <a:pPr defTabSz="914348"/>
            <a:r>
              <a:rPr lang="ru-RU" sz="1100" dirty="0">
                <a:gradFill flip="none" rotWithShape="1">
                  <a:gsLst>
                    <a:gs pos="0">
                      <a:schemeClr val="accent3"/>
                    </a:gs>
                    <a:gs pos="97000">
                      <a:schemeClr val="accent1"/>
                    </a:gs>
                  </a:gsLst>
                  <a:lin ang="5400000" scaled="1"/>
                  <a:tileRect/>
                </a:gradFill>
                <a:latin typeface="Arial" panose="020B0604020202020204" pitchFamily="34" charset="0"/>
                <a:cs typeface="Arial" panose="020B0604020202020204" pitchFamily="34" charset="0"/>
              </a:rPr>
              <a:t>Мониторинг оползневой опасности</a:t>
            </a:r>
          </a:p>
          <a:p>
            <a:pPr defTabSz="914348"/>
            <a:r>
              <a:rPr lang="ru-RU" sz="1100" dirty="0">
                <a:gradFill flip="none" rotWithShape="1">
                  <a:gsLst>
                    <a:gs pos="0">
                      <a:schemeClr val="accent3"/>
                    </a:gs>
                    <a:gs pos="97000">
                      <a:schemeClr val="accent1"/>
                    </a:gs>
                  </a:gsLst>
                  <a:lin ang="5400000" scaled="1"/>
                  <a:tileRect/>
                </a:gradFill>
                <a:latin typeface="Arial" panose="020B0604020202020204" pitchFamily="34" charset="0"/>
                <a:cs typeface="Arial" panose="020B0604020202020204" pitchFamily="34" charset="0"/>
              </a:rPr>
              <a:t>Технологическая подготовка на хвостохранилище «Талды-Булак»</a:t>
            </a:r>
          </a:p>
          <a:p>
            <a:pPr defTabSz="914348"/>
            <a:r>
              <a:rPr lang="ru-RU" sz="1100" dirty="0">
                <a:gradFill flip="none" rotWithShape="1">
                  <a:gsLst>
                    <a:gs pos="0">
                      <a:schemeClr val="accent3"/>
                    </a:gs>
                    <a:gs pos="97000">
                      <a:schemeClr val="accent1"/>
                    </a:gs>
                  </a:gsLst>
                  <a:lin ang="5400000" scaled="1"/>
                  <a:tileRect/>
                </a:gradFill>
                <a:latin typeface="Arial" panose="020B0604020202020204" pitchFamily="34" charset="0"/>
                <a:cs typeface="Arial" panose="020B0604020202020204" pitchFamily="34" charset="0"/>
              </a:rPr>
              <a:t>Перевозка отходов на хвостохранилище «Дальнее» </a:t>
            </a:r>
          </a:p>
          <a:p>
            <a:pPr defTabSz="914348"/>
            <a:r>
              <a:rPr lang="ru-RU" sz="1100" dirty="0">
                <a:gradFill flip="none" rotWithShape="1">
                  <a:gsLst>
                    <a:gs pos="0">
                      <a:schemeClr val="accent3"/>
                    </a:gs>
                    <a:gs pos="97000">
                      <a:schemeClr val="accent1"/>
                    </a:gs>
                  </a:gsLst>
                  <a:lin ang="5400000" scaled="1"/>
                  <a:tileRect/>
                </a:gradFill>
                <a:latin typeface="Arial" panose="020B0604020202020204" pitchFamily="34" charset="0"/>
                <a:cs typeface="Arial" panose="020B0604020202020204" pitchFamily="34" charset="0"/>
              </a:rPr>
              <a:t>Рекультивация хвостохранилища «Как»</a:t>
            </a:r>
          </a:p>
        </p:txBody>
      </p:sp>
      <p:sp>
        <p:nvSpPr>
          <p:cNvPr id="19" name="Овал 18">
            <a:extLst>
              <a:ext uri="{FF2B5EF4-FFF2-40B4-BE49-F238E27FC236}">
                <a16:creationId xmlns:a16="http://schemas.microsoft.com/office/drawing/2014/main" id="{D5104B88-72ED-4182-A918-B25CD2316CAC}"/>
              </a:ext>
            </a:extLst>
          </p:cNvPr>
          <p:cNvSpPr/>
          <p:nvPr/>
        </p:nvSpPr>
        <p:spPr>
          <a:xfrm>
            <a:off x="2200126" y="2728608"/>
            <a:ext cx="162000" cy="162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333333"/>
              </a:solidFill>
            </a:endParaRPr>
          </a:p>
        </p:txBody>
      </p:sp>
      <p:sp>
        <p:nvSpPr>
          <p:cNvPr id="20" name="Овал 19">
            <a:extLst>
              <a:ext uri="{FF2B5EF4-FFF2-40B4-BE49-F238E27FC236}">
                <a16:creationId xmlns:a16="http://schemas.microsoft.com/office/drawing/2014/main" id="{50B9B956-1690-2AFC-079C-3C15BB194D91}"/>
              </a:ext>
            </a:extLst>
          </p:cNvPr>
          <p:cNvSpPr/>
          <p:nvPr/>
        </p:nvSpPr>
        <p:spPr>
          <a:xfrm>
            <a:off x="3426000" y="2741071"/>
            <a:ext cx="162000" cy="162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333333"/>
              </a:solidFill>
            </a:endParaRPr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B60701AA-E0AF-F60C-BCB5-6959184BFBFC}"/>
              </a:ext>
            </a:extLst>
          </p:cNvPr>
          <p:cNvSpPr/>
          <p:nvPr/>
        </p:nvSpPr>
        <p:spPr>
          <a:xfrm>
            <a:off x="4823470" y="2743372"/>
            <a:ext cx="162000" cy="162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333333"/>
              </a:solidFill>
            </a:endParaRPr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91635021-9B40-D061-78F7-02BD4046C7D2}"/>
              </a:ext>
            </a:extLst>
          </p:cNvPr>
          <p:cNvSpPr/>
          <p:nvPr/>
        </p:nvSpPr>
        <p:spPr>
          <a:xfrm>
            <a:off x="6237436" y="2721552"/>
            <a:ext cx="162000" cy="162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333333"/>
              </a:solidFill>
            </a:endParaRPr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C6616403-2206-6534-ED1C-FC85ADC28D55}"/>
              </a:ext>
            </a:extLst>
          </p:cNvPr>
          <p:cNvSpPr/>
          <p:nvPr/>
        </p:nvSpPr>
        <p:spPr>
          <a:xfrm>
            <a:off x="10272878" y="2741409"/>
            <a:ext cx="162000" cy="162000"/>
          </a:xfrm>
          <a:prstGeom prst="ellipse">
            <a:avLst/>
          </a:prstGeom>
          <a:solidFill>
            <a:schemeClr val="tx2">
              <a:lumMod val="75000"/>
            </a:schemeClr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333333"/>
              </a:solidFill>
            </a:endParaRPr>
          </a:p>
        </p:txBody>
      </p:sp>
      <p:sp>
        <p:nvSpPr>
          <p:cNvPr id="28" name="Овал 27">
            <a:extLst>
              <a:ext uri="{FF2B5EF4-FFF2-40B4-BE49-F238E27FC236}">
                <a16:creationId xmlns:a16="http://schemas.microsoft.com/office/drawing/2014/main" id="{98512A53-D998-E132-D8CD-DCAD64479FFB}"/>
              </a:ext>
            </a:extLst>
          </p:cNvPr>
          <p:cNvSpPr/>
          <p:nvPr/>
        </p:nvSpPr>
        <p:spPr>
          <a:xfrm>
            <a:off x="8972628" y="2748567"/>
            <a:ext cx="162000" cy="162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333333"/>
              </a:solidFill>
            </a:endParaRPr>
          </a:p>
        </p:txBody>
      </p:sp>
      <p:sp>
        <p:nvSpPr>
          <p:cNvPr id="29" name="Овал 28">
            <a:extLst>
              <a:ext uri="{FF2B5EF4-FFF2-40B4-BE49-F238E27FC236}">
                <a16:creationId xmlns:a16="http://schemas.microsoft.com/office/drawing/2014/main" id="{42B63F44-17A3-75C8-8AF0-4748B694D9D7}"/>
              </a:ext>
            </a:extLst>
          </p:cNvPr>
          <p:cNvSpPr/>
          <p:nvPr/>
        </p:nvSpPr>
        <p:spPr>
          <a:xfrm>
            <a:off x="7606946" y="2738203"/>
            <a:ext cx="162000" cy="162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333333"/>
              </a:solidFill>
            </a:endParaRPr>
          </a:p>
        </p:txBody>
      </p:sp>
      <p:grpSp>
        <p:nvGrpSpPr>
          <p:cNvPr id="32" name="Группа 31">
            <a:extLst>
              <a:ext uri="{FF2B5EF4-FFF2-40B4-BE49-F238E27FC236}">
                <a16:creationId xmlns:a16="http://schemas.microsoft.com/office/drawing/2014/main" id="{FA20FAC0-F902-10EB-D217-E00F1394D9A5}"/>
              </a:ext>
            </a:extLst>
          </p:cNvPr>
          <p:cNvGrpSpPr/>
          <p:nvPr/>
        </p:nvGrpSpPr>
        <p:grpSpPr>
          <a:xfrm>
            <a:off x="899225" y="841190"/>
            <a:ext cx="545669" cy="515891"/>
            <a:chOff x="1058423" y="1769124"/>
            <a:chExt cx="719999" cy="720000"/>
          </a:xfrm>
        </p:grpSpPr>
        <p:pic>
          <p:nvPicPr>
            <p:cNvPr id="33" name="Рисунок 32">
              <a:extLst>
                <a:ext uri="{FF2B5EF4-FFF2-40B4-BE49-F238E27FC236}">
                  <a16:creationId xmlns:a16="http://schemas.microsoft.com/office/drawing/2014/main" id="{3B40DA92-3CA0-BE4E-5A28-22AD844111E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/>
            <a:stretch/>
          </p:blipFill>
          <p:spPr>
            <a:xfrm>
              <a:off x="1058423" y="1769124"/>
              <a:ext cx="719999" cy="720000"/>
            </a:xfrm>
            <a:prstGeom prst="rect">
              <a:avLst/>
            </a:prstGeom>
          </p:spPr>
        </p:pic>
        <p:sp>
          <p:nvSpPr>
            <p:cNvPr id="34" name="Полилиния 34">
              <a:extLst>
                <a:ext uri="{FF2B5EF4-FFF2-40B4-BE49-F238E27FC236}">
                  <a16:creationId xmlns:a16="http://schemas.microsoft.com/office/drawing/2014/main" id="{B05E422C-03C0-42A8-F5C1-F92E50B1B027}"/>
                </a:ext>
              </a:extLst>
            </p:cNvPr>
            <p:cNvSpPr/>
            <p:nvPr/>
          </p:nvSpPr>
          <p:spPr>
            <a:xfrm>
              <a:off x="1207623" y="1952086"/>
              <a:ext cx="404286" cy="419770"/>
            </a:xfrm>
            <a:custGeom>
              <a:avLst/>
              <a:gdLst>
                <a:gd name="connsiteX0" fmla="*/ 0 w 404286"/>
                <a:gd name="connsiteY0" fmla="*/ 300332 h 419770"/>
                <a:gd name="connsiteX1" fmla="*/ 59690 w 404286"/>
                <a:gd name="connsiteY1" fmla="*/ 300332 h 419770"/>
                <a:gd name="connsiteX2" fmla="*/ 66407 w 404286"/>
                <a:gd name="connsiteY2" fmla="*/ 307089 h 419770"/>
                <a:gd name="connsiteX3" fmla="*/ 66407 w 404286"/>
                <a:gd name="connsiteY3" fmla="*/ 373591 h 419770"/>
                <a:gd name="connsiteX4" fmla="*/ 0 w 404286"/>
                <a:gd name="connsiteY4" fmla="*/ 300332 h 419770"/>
                <a:gd name="connsiteX5" fmla="*/ 118588 w 404286"/>
                <a:gd name="connsiteY5" fmla="*/ 299163 h 419770"/>
                <a:gd name="connsiteX6" fmla="*/ 152229 w 404286"/>
                <a:gd name="connsiteY6" fmla="*/ 303556 h 419770"/>
                <a:gd name="connsiteX7" fmla="*/ 187746 w 404286"/>
                <a:gd name="connsiteY7" fmla="*/ 308714 h 419770"/>
                <a:gd name="connsiteX8" fmla="*/ 193638 w 404286"/>
                <a:gd name="connsiteY8" fmla="*/ 308572 h 419770"/>
                <a:gd name="connsiteX9" fmla="*/ 265163 w 404286"/>
                <a:gd name="connsiteY9" fmla="*/ 305065 h 419770"/>
                <a:gd name="connsiteX10" fmla="*/ 266065 w 404286"/>
                <a:gd name="connsiteY10" fmla="*/ 305065 h 419770"/>
                <a:gd name="connsiteX11" fmla="*/ 284851 w 404286"/>
                <a:gd name="connsiteY11" fmla="*/ 321960 h 419770"/>
                <a:gd name="connsiteX12" fmla="*/ 268063 w 404286"/>
                <a:gd name="connsiteY12" fmla="*/ 342694 h 419770"/>
                <a:gd name="connsiteX13" fmla="*/ 192619 w 404286"/>
                <a:gd name="connsiteY13" fmla="*/ 350792 h 419770"/>
                <a:gd name="connsiteX14" fmla="*/ 186263 w 404286"/>
                <a:gd name="connsiteY14" fmla="*/ 357872 h 419770"/>
                <a:gd name="connsiteX15" fmla="*/ 186263 w 404286"/>
                <a:gd name="connsiteY15" fmla="*/ 358207 h 419770"/>
                <a:gd name="connsiteX16" fmla="*/ 193367 w 404286"/>
                <a:gd name="connsiteY16" fmla="*/ 364990 h 419770"/>
                <a:gd name="connsiteX17" fmla="*/ 194076 w 404286"/>
                <a:gd name="connsiteY17" fmla="*/ 364990 h 419770"/>
                <a:gd name="connsiteX18" fmla="*/ 259593 w 404286"/>
                <a:gd name="connsiteY18" fmla="*/ 358542 h 419770"/>
                <a:gd name="connsiteX19" fmla="*/ 302511 w 404286"/>
                <a:gd name="connsiteY19" fmla="*/ 344963 h 419770"/>
                <a:gd name="connsiteX20" fmla="*/ 373301 w 404286"/>
                <a:gd name="connsiteY20" fmla="*/ 304987 h 419770"/>
                <a:gd name="connsiteX21" fmla="*/ 401457 w 404286"/>
                <a:gd name="connsiteY21" fmla="*/ 312660 h 419770"/>
                <a:gd name="connsiteX22" fmla="*/ 403997 w 404286"/>
                <a:gd name="connsiteY22" fmla="*/ 326536 h 419770"/>
                <a:gd name="connsiteX23" fmla="*/ 389532 w 404286"/>
                <a:gd name="connsiteY23" fmla="*/ 343545 h 419770"/>
                <a:gd name="connsiteX24" fmla="*/ 282670 w 404286"/>
                <a:gd name="connsiteY24" fmla="*/ 405753 h 419770"/>
                <a:gd name="connsiteX25" fmla="*/ 230715 w 404286"/>
                <a:gd name="connsiteY25" fmla="*/ 419770 h 419770"/>
                <a:gd name="connsiteX26" fmla="*/ 225649 w 404286"/>
                <a:gd name="connsiteY26" fmla="*/ 419641 h 419770"/>
                <a:gd name="connsiteX27" fmla="*/ 162478 w 404286"/>
                <a:gd name="connsiteY27" fmla="*/ 416533 h 419770"/>
                <a:gd name="connsiteX28" fmla="*/ 76578 w 404286"/>
                <a:gd name="connsiteY28" fmla="*/ 381135 h 419770"/>
                <a:gd name="connsiteX29" fmla="*/ 76578 w 404286"/>
                <a:gd name="connsiteY29" fmla="*/ 308572 h 419770"/>
                <a:gd name="connsiteX30" fmla="*/ 85254 w 404286"/>
                <a:gd name="connsiteY30" fmla="*/ 305477 h 419770"/>
                <a:gd name="connsiteX31" fmla="*/ 118588 w 404286"/>
                <a:gd name="connsiteY31" fmla="*/ 299163 h 419770"/>
                <a:gd name="connsiteX32" fmla="*/ 349271 w 404286"/>
                <a:gd name="connsiteY32" fmla="*/ 288738 h 419770"/>
                <a:gd name="connsiteX33" fmla="*/ 366791 w 404286"/>
                <a:gd name="connsiteY33" fmla="*/ 298332 h 419770"/>
                <a:gd name="connsiteX34" fmla="*/ 297522 w 404286"/>
                <a:gd name="connsiteY34" fmla="*/ 337522 h 419770"/>
                <a:gd name="connsiteX35" fmla="*/ 297445 w 404286"/>
                <a:gd name="connsiteY35" fmla="*/ 337522 h 419770"/>
                <a:gd name="connsiteX36" fmla="*/ 296155 w 404286"/>
                <a:gd name="connsiteY36" fmla="*/ 337870 h 419770"/>
                <a:gd name="connsiteX37" fmla="*/ 295326 w 404286"/>
                <a:gd name="connsiteY37" fmla="*/ 337737 h 419770"/>
                <a:gd name="connsiteX38" fmla="*/ 293577 w 404286"/>
                <a:gd name="connsiteY38" fmla="*/ 334311 h 419770"/>
                <a:gd name="connsiteX39" fmla="*/ 293886 w 404286"/>
                <a:gd name="connsiteY39" fmla="*/ 333331 h 419770"/>
                <a:gd name="connsiteX40" fmla="*/ 293100 w 404286"/>
                <a:gd name="connsiteY40" fmla="*/ 314851 h 419770"/>
                <a:gd name="connsiteX41" fmla="*/ 335205 w 404286"/>
                <a:gd name="connsiteY41" fmla="*/ 293380 h 419770"/>
                <a:gd name="connsiteX42" fmla="*/ 339679 w 404286"/>
                <a:gd name="connsiteY42" fmla="*/ 291098 h 419770"/>
                <a:gd name="connsiteX43" fmla="*/ 349271 w 404286"/>
                <a:gd name="connsiteY43" fmla="*/ 288738 h 419770"/>
                <a:gd name="connsiteX44" fmla="*/ 321483 w 404286"/>
                <a:gd name="connsiteY44" fmla="*/ 278103 h 419770"/>
                <a:gd name="connsiteX45" fmla="*/ 332872 w 404286"/>
                <a:gd name="connsiteY45" fmla="*/ 286314 h 419770"/>
                <a:gd name="connsiteX46" fmla="*/ 290883 w 404286"/>
                <a:gd name="connsiteY46" fmla="*/ 307721 h 419770"/>
                <a:gd name="connsiteX47" fmla="*/ 272834 w 404286"/>
                <a:gd name="connsiteY47" fmla="*/ 294503 h 419770"/>
                <a:gd name="connsiteX48" fmla="*/ 307475 w 404286"/>
                <a:gd name="connsiteY48" fmla="*/ 279028 h 419770"/>
                <a:gd name="connsiteX49" fmla="*/ 321483 w 404286"/>
                <a:gd name="connsiteY49" fmla="*/ 278103 h 419770"/>
                <a:gd name="connsiteX50" fmla="*/ 80730 w 404286"/>
                <a:gd name="connsiteY50" fmla="*/ 199102 h 419770"/>
                <a:gd name="connsiteX51" fmla="*/ 100610 w 404286"/>
                <a:gd name="connsiteY51" fmla="*/ 214332 h 419770"/>
                <a:gd name="connsiteX52" fmla="*/ 156045 w 404286"/>
                <a:gd name="connsiteY52" fmla="*/ 225757 h 419770"/>
                <a:gd name="connsiteX53" fmla="*/ 211558 w 404286"/>
                <a:gd name="connsiteY53" fmla="*/ 214332 h 419770"/>
                <a:gd name="connsiteX54" fmla="*/ 231425 w 404286"/>
                <a:gd name="connsiteY54" fmla="*/ 199102 h 419770"/>
                <a:gd name="connsiteX55" fmla="*/ 231425 w 404286"/>
                <a:gd name="connsiteY55" fmla="*/ 219735 h 419770"/>
                <a:gd name="connsiteX56" fmla="*/ 156097 w 404286"/>
                <a:gd name="connsiteY56" fmla="*/ 256603 h 419770"/>
                <a:gd name="connsiteX57" fmla="*/ 80730 w 404286"/>
                <a:gd name="connsiteY57" fmla="*/ 219735 h 419770"/>
                <a:gd name="connsiteX58" fmla="*/ 380920 w 404286"/>
                <a:gd name="connsiteY58" fmla="*/ 170957 h 419770"/>
                <a:gd name="connsiteX59" fmla="*/ 389662 w 404286"/>
                <a:gd name="connsiteY59" fmla="*/ 173543 h 419770"/>
                <a:gd name="connsiteX60" fmla="*/ 387096 w 404286"/>
                <a:gd name="connsiteY60" fmla="*/ 182286 h 419770"/>
                <a:gd name="connsiteX61" fmla="*/ 286538 w 404286"/>
                <a:gd name="connsiteY61" fmla="*/ 237272 h 419770"/>
                <a:gd name="connsiteX62" fmla="*/ 272937 w 404286"/>
                <a:gd name="connsiteY62" fmla="*/ 237646 h 419770"/>
                <a:gd name="connsiteX63" fmla="*/ 237871 w 404286"/>
                <a:gd name="connsiteY63" fmla="*/ 220882 h 419770"/>
                <a:gd name="connsiteX64" fmla="*/ 237871 w 404286"/>
                <a:gd name="connsiteY64" fmla="*/ 206697 h 419770"/>
                <a:gd name="connsiteX65" fmla="*/ 278558 w 404286"/>
                <a:gd name="connsiteY65" fmla="*/ 226040 h 419770"/>
                <a:gd name="connsiteX66" fmla="*/ 280415 w 404286"/>
                <a:gd name="connsiteY66" fmla="*/ 226040 h 419770"/>
                <a:gd name="connsiteX67" fmla="*/ 380908 w 404286"/>
                <a:gd name="connsiteY67" fmla="*/ 170964 h 419770"/>
                <a:gd name="connsiteX68" fmla="*/ 380920 w 404286"/>
                <a:gd name="connsiteY68" fmla="*/ 170957 h 419770"/>
                <a:gd name="connsiteX69" fmla="*/ 80730 w 404286"/>
                <a:gd name="connsiteY69" fmla="*/ 162259 h 419770"/>
                <a:gd name="connsiteX70" fmla="*/ 99926 w 404286"/>
                <a:gd name="connsiteY70" fmla="*/ 177140 h 419770"/>
                <a:gd name="connsiteX71" fmla="*/ 156045 w 404286"/>
                <a:gd name="connsiteY71" fmla="*/ 188901 h 419770"/>
                <a:gd name="connsiteX72" fmla="*/ 212229 w 404286"/>
                <a:gd name="connsiteY72" fmla="*/ 177140 h 419770"/>
                <a:gd name="connsiteX73" fmla="*/ 231425 w 404286"/>
                <a:gd name="connsiteY73" fmla="*/ 162259 h 419770"/>
                <a:gd name="connsiteX74" fmla="*/ 231425 w 404286"/>
                <a:gd name="connsiteY74" fmla="*/ 182453 h 419770"/>
                <a:gd name="connsiteX75" fmla="*/ 156097 w 404286"/>
                <a:gd name="connsiteY75" fmla="*/ 219322 h 419770"/>
                <a:gd name="connsiteX76" fmla="*/ 80730 w 404286"/>
                <a:gd name="connsiteY76" fmla="*/ 182453 h 419770"/>
                <a:gd name="connsiteX77" fmla="*/ 382476 w 404286"/>
                <a:gd name="connsiteY77" fmla="*/ 154175 h 419770"/>
                <a:gd name="connsiteX78" fmla="*/ 386826 w 404286"/>
                <a:gd name="connsiteY78" fmla="*/ 155476 h 419770"/>
                <a:gd name="connsiteX79" fmla="*/ 386837 w 404286"/>
                <a:gd name="connsiteY79" fmla="*/ 155496 h 419770"/>
                <a:gd name="connsiteX80" fmla="*/ 385536 w 404286"/>
                <a:gd name="connsiteY80" fmla="*/ 159847 h 419770"/>
                <a:gd name="connsiteX81" fmla="*/ 284979 w 404286"/>
                <a:gd name="connsiteY81" fmla="*/ 214834 h 419770"/>
                <a:gd name="connsiteX82" fmla="*/ 274317 w 404286"/>
                <a:gd name="connsiteY82" fmla="*/ 215130 h 419770"/>
                <a:gd name="connsiteX83" fmla="*/ 237871 w 404286"/>
                <a:gd name="connsiteY83" fmla="*/ 197747 h 419770"/>
                <a:gd name="connsiteX84" fmla="*/ 237871 w 404286"/>
                <a:gd name="connsiteY84" fmla="*/ 190603 h 419770"/>
                <a:gd name="connsiteX85" fmla="*/ 277101 w 404286"/>
                <a:gd name="connsiteY85" fmla="*/ 209315 h 419770"/>
                <a:gd name="connsiteX86" fmla="*/ 281897 w 404286"/>
                <a:gd name="connsiteY86" fmla="*/ 209173 h 419770"/>
                <a:gd name="connsiteX87" fmla="*/ 382455 w 404286"/>
                <a:gd name="connsiteY87" fmla="*/ 154186 h 419770"/>
                <a:gd name="connsiteX88" fmla="*/ 382476 w 404286"/>
                <a:gd name="connsiteY88" fmla="*/ 154175 h 419770"/>
                <a:gd name="connsiteX89" fmla="*/ 382455 w 404286"/>
                <a:gd name="connsiteY89" fmla="*/ 138506 h 419770"/>
                <a:gd name="connsiteX90" fmla="*/ 386826 w 404286"/>
                <a:gd name="connsiteY90" fmla="*/ 139795 h 419770"/>
                <a:gd name="connsiteX91" fmla="*/ 386837 w 404286"/>
                <a:gd name="connsiteY91" fmla="*/ 139816 h 419770"/>
                <a:gd name="connsiteX92" fmla="*/ 385536 w 404286"/>
                <a:gd name="connsiteY92" fmla="*/ 144167 h 419770"/>
                <a:gd name="connsiteX93" fmla="*/ 284979 w 404286"/>
                <a:gd name="connsiteY93" fmla="*/ 199153 h 419770"/>
                <a:gd name="connsiteX94" fmla="*/ 274317 w 404286"/>
                <a:gd name="connsiteY94" fmla="*/ 199450 h 419770"/>
                <a:gd name="connsiteX95" fmla="*/ 237871 w 404286"/>
                <a:gd name="connsiteY95" fmla="*/ 182067 h 419770"/>
                <a:gd name="connsiteX96" fmla="*/ 237871 w 404286"/>
                <a:gd name="connsiteY96" fmla="*/ 174923 h 419770"/>
                <a:gd name="connsiteX97" fmla="*/ 277101 w 404286"/>
                <a:gd name="connsiteY97" fmla="*/ 193634 h 419770"/>
                <a:gd name="connsiteX98" fmla="*/ 281897 w 404286"/>
                <a:gd name="connsiteY98" fmla="*/ 193505 h 419770"/>
                <a:gd name="connsiteX99" fmla="*/ 40365 w 404286"/>
                <a:gd name="connsiteY99" fmla="*/ 112470 h 419770"/>
                <a:gd name="connsiteX100" fmla="*/ 78319 w 404286"/>
                <a:gd name="connsiteY100" fmla="*/ 130523 h 419770"/>
                <a:gd name="connsiteX101" fmla="*/ 74348 w 404286"/>
                <a:gd name="connsiteY101" fmla="*/ 142929 h 419770"/>
                <a:gd name="connsiteX102" fmla="*/ 34821 w 404286"/>
                <a:gd name="connsiteY102" fmla="*/ 124076 h 419770"/>
                <a:gd name="connsiteX103" fmla="*/ 32008 w 404286"/>
                <a:gd name="connsiteY103" fmla="*/ 116114 h 419770"/>
                <a:gd name="connsiteX104" fmla="*/ 40365 w 404286"/>
                <a:gd name="connsiteY104" fmla="*/ 112470 h 419770"/>
                <a:gd name="connsiteX105" fmla="*/ 156097 w 404286"/>
                <a:gd name="connsiteY105" fmla="*/ 106834 h 419770"/>
                <a:gd name="connsiteX106" fmla="*/ 231477 w 404286"/>
                <a:gd name="connsiteY106" fmla="*/ 144644 h 419770"/>
                <a:gd name="connsiteX107" fmla="*/ 156097 w 404286"/>
                <a:gd name="connsiteY107" fmla="*/ 182453 h 419770"/>
                <a:gd name="connsiteX108" fmla="*/ 80717 w 404286"/>
                <a:gd name="connsiteY108" fmla="*/ 144644 h 419770"/>
                <a:gd name="connsiteX109" fmla="*/ 156097 w 404286"/>
                <a:gd name="connsiteY109" fmla="*/ 106834 h 419770"/>
                <a:gd name="connsiteX110" fmla="*/ 38985 w 404286"/>
                <a:gd name="connsiteY110" fmla="*/ 95706 h 419770"/>
                <a:gd name="connsiteX111" fmla="*/ 88465 w 404286"/>
                <a:gd name="connsiteY111" fmla="*/ 119317 h 419770"/>
                <a:gd name="connsiteX112" fmla="*/ 83308 w 404286"/>
                <a:gd name="connsiteY112" fmla="*/ 123998 h 419770"/>
                <a:gd name="connsiteX113" fmla="*/ 36200 w 404286"/>
                <a:gd name="connsiteY113" fmla="*/ 101522 h 419770"/>
                <a:gd name="connsiteX114" fmla="*/ 34686 w 404286"/>
                <a:gd name="connsiteY114" fmla="*/ 97221 h 419770"/>
                <a:gd name="connsiteX115" fmla="*/ 38985 w 404286"/>
                <a:gd name="connsiteY115" fmla="*/ 95706 h 419770"/>
                <a:gd name="connsiteX116" fmla="*/ 38998 w 404286"/>
                <a:gd name="connsiteY116" fmla="*/ 80024 h 419770"/>
                <a:gd name="connsiteX117" fmla="*/ 103136 w 404286"/>
                <a:gd name="connsiteY117" fmla="*/ 110625 h 419770"/>
                <a:gd name="connsiteX118" fmla="*/ 99926 w 404286"/>
                <a:gd name="connsiteY118" fmla="*/ 112147 h 419770"/>
                <a:gd name="connsiteX119" fmla="*/ 95916 w 404286"/>
                <a:gd name="connsiteY119" fmla="*/ 114326 h 419770"/>
                <a:gd name="connsiteX120" fmla="*/ 36213 w 404286"/>
                <a:gd name="connsiteY120" fmla="*/ 85853 h 419770"/>
                <a:gd name="connsiteX121" fmla="*/ 34692 w 404286"/>
                <a:gd name="connsiteY121" fmla="*/ 81546 h 419770"/>
                <a:gd name="connsiteX122" fmla="*/ 38998 w 404286"/>
                <a:gd name="connsiteY122" fmla="*/ 80024 h 419770"/>
                <a:gd name="connsiteX123" fmla="*/ 161808 w 404286"/>
                <a:gd name="connsiteY123" fmla="*/ 21904 h 419770"/>
                <a:gd name="connsiteX124" fmla="*/ 141916 w 404286"/>
                <a:gd name="connsiteY124" fmla="*/ 27321 h 419770"/>
                <a:gd name="connsiteX125" fmla="*/ 123351 w 404286"/>
                <a:gd name="connsiteY125" fmla="*/ 22665 h 419770"/>
                <a:gd name="connsiteX126" fmla="*/ 86042 w 404286"/>
                <a:gd name="connsiteY126" fmla="*/ 42602 h 419770"/>
                <a:gd name="connsiteX127" fmla="*/ 91611 w 404286"/>
                <a:gd name="connsiteY127" fmla="*/ 54904 h 419770"/>
                <a:gd name="connsiteX128" fmla="*/ 77275 w 404286"/>
                <a:gd name="connsiteY128" fmla="*/ 72958 h 419770"/>
                <a:gd name="connsiteX129" fmla="*/ 114958 w 404286"/>
                <a:gd name="connsiteY129" fmla="*/ 90921 h 419770"/>
                <a:gd name="connsiteX130" fmla="*/ 204352 w 404286"/>
                <a:gd name="connsiteY130" fmla="*/ 41996 h 419770"/>
                <a:gd name="connsiteX131" fmla="*/ 148529 w 404286"/>
                <a:gd name="connsiteY131" fmla="*/ 1413 h 419770"/>
                <a:gd name="connsiteX132" fmla="*/ 386491 w 404286"/>
                <a:gd name="connsiteY132" fmla="*/ 113605 h 419770"/>
                <a:gd name="connsiteX133" fmla="*/ 386542 w 404286"/>
                <a:gd name="connsiteY133" fmla="*/ 113579 h 419770"/>
                <a:gd name="connsiteX134" fmla="*/ 389496 w 404286"/>
                <a:gd name="connsiteY134" fmla="*/ 116356 h 419770"/>
                <a:gd name="connsiteX135" fmla="*/ 386903 w 404286"/>
                <a:gd name="connsiteY135" fmla="*/ 125327 h 419770"/>
                <a:gd name="connsiteX136" fmla="*/ 286629 w 404286"/>
                <a:gd name="connsiteY136" fmla="*/ 180184 h 419770"/>
                <a:gd name="connsiteX137" fmla="*/ 273028 w 404286"/>
                <a:gd name="connsiteY137" fmla="*/ 180558 h 419770"/>
                <a:gd name="connsiteX138" fmla="*/ 232341 w 404286"/>
                <a:gd name="connsiteY138" fmla="*/ 161150 h 419770"/>
                <a:gd name="connsiteX139" fmla="*/ 237497 w 404286"/>
                <a:gd name="connsiteY139" fmla="*/ 149351 h 419770"/>
                <a:gd name="connsiteX140" fmla="*/ 254863 w 404286"/>
                <a:gd name="connsiteY140" fmla="*/ 157630 h 419770"/>
                <a:gd name="connsiteX141" fmla="*/ 280866 w 404286"/>
                <a:gd name="connsiteY141" fmla="*/ 146733 h 419770"/>
                <a:gd name="connsiteX142" fmla="*/ 304923 w 404286"/>
                <a:gd name="connsiteY142" fmla="*/ 155463 h 419770"/>
                <a:gd name="connsiteX143" fmla="*/ 346177 w 404286"/>
                <a:gd name="connsiteY143" fmla="*/ 132883 h 419770"/>
                <a:gd name="connsiteX144" fmla="*/ 338442 w 404286"/>
                <a:gd name="connsiteY144" fmla="*/ 118698 h 419770"/>
                <a:gd name="connsiteX145" fmla="*/ 343057 w 404286"/>
                <a:gd name="connsiteY145" fmla="*/ 107402 h 419770"/>
                <a:gd name="connsiteX146" fmla="*/ 298232 w 404286"/>
                <a:gd name="connsiteY146" fmla="*/ 86202 h 419770"/>
                <a:gd name="connsiteX147" fmla="*/ 229027 w 404286"/>
                <a:gd name="connsiteY147" fmla="*/ 124063 h 419770"/>
                <a:gd name="connsiteX148" fmla="*/ 212345 w 404286"/>
                <a:gd name="connsiteY148" fmla="*/ 112134 h 419770"/>
                <a:gd name="connsiteX149" fmla="*/ 156161 w 404286"/>
                <a:gd name="connsiteY149" fmla="*/ 100374 h 419770"/>
                <a:gd name="connsiteX150" fmla="*/ 116299 w 404286"/>
                <a:gd name="connsiteY150" fmla="*/ 105803 h 419770"/>
                <a:gd name="connsiteX151" fmla="*/ 35079 w 404286"/>
                <a:gd name="connsiteY151" fmla="*/ 67116 h 419770"/>
                <a:gd name="connsiteX152" fmla="*/ 32103 w 404286"/>
                <a:gd name="connsiteY152" fmla="*/ 64273 h 419770"/>
                <a:gd name="connsiteX153" fmla="*/ 34809 w 404286"/>
                <a:gd name="connsiteY153" fmla="*/ 55355 h 419770"/>
                <a:gd name="connsiteX154" fmla="*/ 135122 w 404286"/>
                <a:gd name="connsiteY154" fmla="*/ 1749 h 419770"/>
                <a:gd name="connsiteX155" fmla="*/ 148529 w 404286"/>
                <a:gd name="connsiteY155" fmla="*/ 1413 h 419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</a:cxnLst>
              <a:rect l="l" t="t" r="r" b="b"/>
              <a:pathLst>
                <a:path w="404286" h="419770">
                  <a:moveTo>
                    <a:pt x="0" y="300332"/>
                  </a:moveTo>
                  <a:lnTo>
                    <a:pt x="59690" y="300332"/>
                  </a:lnTo>
                  <a:cubicBezTo>
                    <a:pt x="63403" y="300360"/>
                    <a:pt x="66400" y="303375"/>
                    <a:pt x="66407" y="307089"/>
                  </a:cubicBezTo>
                  <a:lnTo>
                    <a:pt x="66407" y="373591"/>
                  </a:lnTo>
                  <a:cubicBezTo>
                    <a:pt x="39561" y="353900"/>
                    <a:pt x="16972" y="328981"/>
                    <a:pt x="0" y="300332"/>
                  </a:cubicBezTo>
                  <a:close/>
                  <a:moveTo>
                    <a:pt x="118588" y="299163"/>
                  </a:moveTo>
                  <a:cubicBezTo>
                    <a:pt x="129893" y="298839"/>
                    <a:pt x="141249" y="300299"/>
                    <a:pt x="152229" y="303556"/>
                  </a:cubicBezTo>
                  <a:cubicBezTo>
                    <a:pt x="163757" y="306980"/>
                    <a:pt x="175720" y="308717"/>
                    <a:pt x="187746" y="308714"/>
                  </a:cubicBezTo>
                  <a:cubicBezTo>
                    <a:pt x="189770" y="308714"/>
                    <a:pt x="191678" y="308662"/>
                    <a:pt x="193638" y="308572"/>
                  </a:cubicBezTo>
                  <a:lnTo>
                    <a:pt x="265163" y="305065"/>
                  </a:lnTo>
                  <a:lnTo>
                    <a:pt x="266065" y="305065"/>
                  </a:lnTo>
                  <a:cubicBezTo>
                    <a:pt x="275730" y="305050"/>
                    <a:pt x="283842" y="312345"/>
                    <a:pt x="284851" y="321960"/>
                  </a:cubicBezTo>
                  <a:cubicBezTo>
                    <a:pt x="285940" y="332323"/>
                    <a:pt x="278424" y="341605"/>
                    <a:pt x="268063" y="342694"/>
                  </a:cubicBezTo>
                  <a:lnTo>
                    <a:pt x="192619" y="350792"/>
                  </a:lnTo>
                  <a:cubicBezTo>
                    <a:pt x="189003" y="351180"/>
                    <a:pt x="186262" y="354234"/>
                    <a:pt x="186263" y="357872"/>
                  </a:cubicBezTo>
                  <a:cubicBezTo>
                    <a:pt x="186257" y="357984"/>
                    <a:pt x="186257" y="358095"/>
                    <a:pt x="186263" y="358207"/>
                  </a:cubicBezTo>
                  <a:cubicBezTo>
                    <a:pt x="186443" y="362002"/>
                    <a:pt x="189569" y="364987"/>
                    <a:pt x="193367" y="364990"/>
                  </a:cubicBezTo>
                  <a:lnTo>
                    <a:pt x="194076" y="364990"/>
                  </a:lnTo>
                  <a:lnTo>
                    <a:pt x="259593" y="358542"/>
                  </a:lnTo>
                  <a:cubicBezTo>
                    <a:pt x="274689" y="357058"/>
                    <a:pt x="289308" y="352432"/>
                    <a:pt x="302511" y="344963"/>
                  </a:cubicBezTo>
                  <a:lnTo>
                    <a:pt x="373301" y="304987"/>
                  </a:lnTo>
                  <a:cubicBezTo>
                    <a:pt x="383200" y="299370"/>
                    <a:pt x="395776" y="302796"/>
                    <a:pt x="401457" y="312660"/>
                  </a:cubicBezTo>
                  <a:cubicBezTo>
                    <a:pt x="403907" y="316843"/>
                    <a:pt x="404807" y="321755"/>
                    <a:pt x="403997" y="326536"/>
                  </a:cubicBezTo>
                  <a:cubicBezTo>
                    <a:pt x="399424" y="332433"/>
                    <a:pt x="394603" y="338103"/>
                    <a:pt x="389532" y="343545"/>
                  </a:cubicBezTo>
                  <a:lnTo>
                    <a:pt x="282670" y="405753"/>
                  </a:lnTo>
                  <a:cubicBezTo>
                    <a:pt x="266894" y="414933"/>
                    <a:pt x="248968" y="419770"/>
                    <a:pt x="230715" y="419770"/>
                  </a:cubicBezTo>
                  <a:cubicBezTo>
                    <a:pt x="229026" y="419770"/>
                    <a:pt x="227338" y="419732"/>
                    <a:pt x="225649" y="419641"/>
                  </a:cubicBezTo>
                  <a:lnTo>
                    <a:pt x="162478" y="416533"/>
                  </a:lnTo>
                  <a:cubicBezTo>
                    <a:pt x="131832" y="410380"/>
                    <a:pt x="102664" y="398360"/>
                    <a:pt x="76578" y="381135"/>
                  </a:cubicBezTo>
                  <a:lnTo>
                    <a:pt x="76578" y="308572"/>
                  </a:lnTo>
                  <a:lnTo>
                    <a:pt x="85254" y="305477"/>
                  </a:lnTo>
                  <a:cubicBezTo>
                    <a:pt x="96029" y="301596"/>
                    <a:pt x="107283" y="299487"/>
                    <a:pt x="118588" y="299163"/>
                  </a:cubicBezTo>
                  <a:close/>
                  <a:moveTo>
                    <a:pt x="349271" y="288738"/>
                  </a:moveTo>
                  <a:cubicBezTo>
                    <a:pt x="356368" y="288723"/>
                    <a:pt x="362979" y="292344"/>
                    <a:pt x="366791" y="298332"/>
                  </a:cubicBezTo>
                  <a:lnTo>
                    <a:pt x="297522" y="337522"/>
                  </a:lnTo>
                  <a:lnTo>
                    <a:pt x="297445" y="337522"/>
                  </a:lnTo>
                  <a:cubicBezTo>
                    <a:pt x="297053" y="337749"/>
                    <a:pt x="296608" y="337869"/>
                    <a:pt x="296155" y="337870"/>
                  </a:cubicBezTo>
                  <a:cubicBezTo>
                    <a:pt x="295874" y="337869"/>
                    <a:pt x="295595" y="337825"/>
                    <a:pt x="295326" y="337737"/>
                  </a:cubicBezTo>
                  <a:cubicBezTo>
                    <a:pt x="293898" y="337274"/>
                    <a:pt x="293114" y="335741"/>
                    <a:pt x="293577" y="334311"/>
                  </a:cubicBezTo>
                  <a:lnTo>
                    <a:pt x="293886" y="333331"/>
                  </a:lnTo>
                  <a:cubicBezTo>
                    <a:pt x="295636" y="327249"/>
                    <a:pt x="295360" y="320763"/>
                    <a:pt x="293100" y="314851"/>
                  </a:cubicBezTo>
                  <a:lnTo>
                    <a:pt x="335205" y="293380"/>
                  </a:lnTo>
                  <a:lnTo>
                    <a:pt x="339679" y="291098"/>
                  </a:lnTo>
                  <a:cubicBezTo>
                    <a:pt x="342639" y="289549"/>
                    <a:pt x="345930" y="288739"/>
                    <a:pt x="349271" y="288738"/>
                  </a:cubicBezTo>
                  <a:close/>
                  <a:moveTo>
                    <a:pt x="321483" y="278103"/>
                  </a:moveTo>
                  <a:cubicBezTo>
                    <a:pt x="325990" y="279396"/>
                    <a:pt x="330060" y="282212"/>
                    <a:pt x="332872" y="286314"/>
                  </a:cubicBezTo>
                  <a:lnTo>
                    <a:pt x="290883" y="307721"/>
                  </a:lnTo>
                  <a:cubicBezTo>
                    <a:pt x="286899" y="301056"/>
                    <a:pt x="280389" y="296287"/>
                    <a:pt x="272834" y="294503"/>
                  </a:cubicBezTo>
                  <a:lnTo>
                    <a:pt x="307475" y="279028"/>
                  </a:lnTo>
                  <a:cubicBezTo>
                    <a:pt x="312034" y="277040"/>
                    <a:pt x="316977" y="276810"/>
                    <a:pt x="321483" y="278103"/>
                  </a:cubicBezTo>
                  <a:close/>
                  <a:moveTo>
                    <a:pt x="80730" y="199102"/>
                  </a:moveTo>
                  <a:cubicBezTo>
                    <a:pt x="85139" y="204879"/>
                    <a:pt x="91895" y="210063"/>
                    <a:pt x="100610" y="214332"/>
                  </a:cubicBezTo>
                  <a:cubicBezTo>
                    <a:pt x="115564" y="221695"/>
                    <a:pt x="135276" y="225757"/>
                    <a:pt x="156045" y="225757"/>
                  </a:cubicBezTo>
                  <a:cubicBezTo>
                    <a:pt x="176814" y="225757"/>
                    <a:pt x="196526" y="221695"/>
                    <a:pt x="211558" y="214332"/>
                  </a:cubicBezTo>
                  <a:cubicBezTo>
                    <a:pt x="220261" y="210063"/>
                    <a:pt x="226964" y="204879"/>
                    <a:pt x="231425" y="199102"/>
                  </a:cubicBezTo>
                  <a:lnTo>
                    <a:pt x="231425" y="219735"/>
                  </a:lnTo>
                  <a:cubicBezTo>
                    <a:pt x="230432" y="240174"/>
                    <a:pt x="197106" y="256603"/>
                    <a:pt x="156097" y="256603"/>
                  </a:cubicBezTo>
                  <a:cubicBezTo>
                    <a:pt x="115100" y="256603"/>
                    <a:pt x="81761" y="240226"/>
                    <a:pt x="80730" y="219735"/>
                  </a:cubicBezTo>
                  <a:close/>
                  <a:moveTo>
                    <a:pt x="380920" y="170957"/>
                  </a:moveTo>
                  <a:cubicBezTo>
                    <a:pt x="384047" y="169256"/>
                    <a:pt x="387961" y="170414"/>
                    <a:pt x="389662" y="173543"/>
                  </a:cubicBezTo>
                  <a:cubicBezTo>
                    <a:pt x="391365" y="176666"/>
                    <a:pt x="390216" y="180578"/>
                    <a:pt x="387096" y="182286"/>
                  </a:cubicBezTo>
                  <a:lnTo>
                    <a:pt x="286538" y="237272"/>
                  </a:lnTo>
                  <a:cubicBezTo>
                    <a:pt x="282328" y="239574"/>
                    <a:pt x="277268" y="239713"/>
                    <a:pt x="272937" y="237646"/>
                  </a:cubicBezTo>
                  <a:lnTo>
                    <a:pt x="237871" y="220882"/>
                  </a:lnTo>
                  <a:lnTo>
                    <a:pt x="237871" y="206697"/>
                  </a:lnTo>
                  <a:lnTo>
                    <a:pt x="278558" y="226040"/>
                  </a:lnTo>
                  <a:cubicBezTo>
                    <a:pt x="279141" y="226337"/>
                    <a:pt x="279832" y="226337"/>
                    <a:pt x="280415" y="226040"/>
                  </a:cubicBezTo>
                  <a:lnTo>
                    <a:pt x="380908" y="170964"/>
                  </a:lnTo>
                  <a:cubicBezTo>
                    <a:pt x="380912" y="170961"/>
                    <a:pt x="380916" y="170960"/>
                    <a:pt x="380920" y="170957"/>
                  </a:cubicBezTo>
                  <a:close/>
                  <a:moveTo>
                    <a:pt x="80730" y="162259"/>
                  </a:moveTo>
                  <a:cubicBezTo>
                    <a:pt x="85075" y="167869"/>
                    <a:pt x="91534" y="172924"/>
                    <a:pt x="99926" y="177140"/>
                  </a:cubicBezTo>
                  <a:cubicBezTo>
                    <a:pt x="115023" y="184775"/>
                    <a:pt x="134928" y="188901"/>
                    <a:pt x="156045" y="188901"/>
                  </a:cubicBezTo>
                  <a:cubicBezTo>
                    <a:pt x="177162" y="188901"/>
                    <a:pt x="197119" y="184723"/>
                    <a:pt x="212229" y="177140"/>
                  </a:cubicBezTo>
                  <a:cubicBezTo>
                    <a:pt x="220634" y="172924"/>
                    <a:pt x="227080" y="167869"/>
                    <a:pt x="231425" y="162259"/>
                  </a:cubicBezTo>
                  <a:lnTo>
                    <a:pt x="231425" y="182453"/>
                  </a:lnTo>
                  <a:cubicBezTo>
                    <a:pt x="230432" y="202893"/>
                    <a:pt x="197106" y="219322"/>
                    <a:pt x="156097" y="219322"/>
                  </a:cubicBezTo>
                  <a:cubicBezTo>
                    <a:pt x="115100" y="219322"/>
                    <a:pt x="81761" y="202893"/>
                    <a:pt x="80730" y="182453"/>
                  </a:cubicBezTo>
                  <a:close/>
                  <a:moveTo>
                    <a:pt x="382476" y="154175"/>
                  </a:moveTo>
                  <a:cubicBezTo>
                    <a:pt x="384036" y="153333"/>
                    <a:pt x="385984" y="153915"/>
                    <a:pt x="386826" y="155476"/>
                  </a:cubicBezTo>
                  <a:cubicBezTo>
                    <a:pt x="386830" y="155482"/>
                    <a:pt x="386833" y="155490"/>
                    <a:pt x="386837" y="155496"/>
                  </a:cubicBezTo>
                  <a:cubicBezTo>
                    <a:pt x="387679" y="157057"/>
                    <a:pt x="387096" y="159005"/>
                    <a:pt x="385536" y="159847"/>
                  </a:cubicBezTo>
                  <a:lnTo>
                    <a:pt x="284979" y="214834"/>
                  </a:lnTo>
                  <a:cubicBezTo>
                    <a:pt x="281677" y="216633"/>
                    <a:pt x="277714" y="216742"/>
                    <a:pt x="274317" y="215130"/>
                  </a:cubicBezTo>
                  <a:lnTo>
                    <a:pt x="237871" y="197747"/>
                  </a:lnTo>
                  <a:lnTo>
                    <a:pt x="237871" y="190603"/>
                  </a:lnTo>
                  <a:lnTo>
                    <a:pt x="277101" y="209315"/>
                  </a:lnTo>
                  <a:cubicBezTo>
                    <a:pt x="278630" y="210038"/>
                    <a:pt x="280413" y="209985"/>
                    <a:pt x="281897" y="209173"/>
                  </a:cubicBezTo>
                  <a:lnTo>
                    <a:pt x="382455" y="154186"/>
                  </a:lnTo>
                  <a:cubicBezTo>
                    <a:pt x="382462" y="154182"/>
                    <a:pt x="382469" y="154179"/>
                    <a:pt x="382476" y="154175"/>
                  </a:cubicBezTo>
                  <a:close/>
                  <a:moveTo>
                    <a:pt x="382455" y="138506"/>
                  </a:moveTo>
                  <a:cubicBezTo>
                    <a:pt x="384018" y="137655"/>
                    <a:pt x="385975" y="138232"/>
                    <a:pt x="386826" y="139795"/>
                  </a:cubicBezTo>
                  <a:cubicBezTo>
                    <a:pt x="386830" y="139802"/>
                    <a:pt x="386833" y="139810"/>
                    <a:pt x="386837" y="139816"/>
                  </a:cubicBezTo>
                  <a:cubicBezTo>
                    <a:pt x="387679" y="141376"/>
                    <a:pt x="387096" y="143325"/>
                    <a:pt x="385536" y="144167"/>
                  </a:cubicBezTo>
                  <a:lnTo>
                    <a:pt x="284979" y="199153"/>
                  </a:lnTo>
                  <a:cubicBezTo>
                    <a:pt x="281677" y="200952"/>
                    <a:pt x="277714" y="201062"/>
                    <a:pt x="274317" y="199450"/>
                  </a:cubicBezTo>
                  <a:lnTo>
                    <a:pt x="237871" y="182067"/>
                  </a:lnTo>
                  <a:lnTo>
                    <a:pt x="237871" y="174923"/>
                  </a:lnTo>
                  <a:lnTo>
                    <a:pt x="277101" y="193634"/>
                  </a:lnTo>
                  <a:cubicBezTo>
                    <a:pt x="278630" y="194355"/>
                    <a:pt x="280410" y="194307"/>
                    <a:pt x="281897" y="193505"/>
                  </a:cubicBezTo>
                  <a:close/>
                  <a:moveTo>
                    <a:pt x="40365" y="112470"/>
                  </a:moveTo>
                  <a:lnTo>
                    <a:pt x="78319" y="130523"/>
                  </a:lnTo>
                  <a:cubicBezTo>
                    <a:pt x="76023" y="134281"/>
                    <a:pt x="74660" y="138535"/>
                    <a:pt x="74348" y="142929"/>
                  </a:cubicBezTo>
                  <a:lnTo>
                    <a:pt x="34821" y="124076"/>
                  </a:lnTo>
                  <a:cubicBezTo>
                    <a:pt x="32035" y="122491"/>
                    <a:pt x="30836" y="119098"/>
                    <a:pt x="32008" y="116114"/>
                  </a:cubicBezTo>
                  <a:cubicBezTo>
                    <a:pt x="33310" y="112800"/>
                    <a:pt x="37051" y="111169"/>
                    <a:pt x="40365" y="112470"/>
                  </a:cubicBezTo>
                  <a:close/>
                  <a:moveTo>
                    <a:pt x="156097" y="106834"/>
                  </a:moveTo>
                  <a:cubicBezTo>
                    <a:pt x="197728" y="106834"/>
                    <a:pt x="231477" y="123762"/>
                    <a:pt x="231477" y="144644"/>
                  </a:cubicBezTo>
                  <a:cubicBezTo>
                    <a:pt x="231477" y="165525"/>
                    <a:pt x="197728" y="182453"/>
                    <a:pt x="156097" y="182453"/>
                  </a:cubicBezTo>
                  <a:cubicBezTo>
                    <a:pt x="114466" y="182453"/>
                    <a:pt x="80717" y="165525"/>
                    <a:pt x="80717" y="144644"/>
                  </a:cubicBezTo>
                  <a:cubicBezTo>
                    <a:pt x="80717" y="123762"/>
                    <a:pt x="114466" y="106834"/>
                    <a:pt x="156097" y="106834"/>
                  </a:cubicBezTo>
                  <a:close/>
                  <a:moveTo>
                    <a:pt x="38985" y="95706"/>
                  </a:moveTo>
                  <a:lnTo>
                    <a:pt x="88465" y="119317"/>
                  </a:lnTo>
                  <a:cubicBezTo>
                    <a:pt x="86638" y="120754"/>
                    <a:pt x="84914" y="122318"/>
                    <a:pt x="83308" y="123998"/>
                  </a:cubicBezTo>
                  <a:lnTo>
                    <a:pt x="36200" y="101522"/>
                  </a:lnTo>
                  <a:cubicBezTo>
                    <a:pt x="34595" y="100753"/>
                    <a:pt x="33917" y="98826"/>
                    <a:pt x="34686" y="97221"/>
                  </a:cubicBezTo>
                  <a:cubicBezTo>
                    <a:pt x="35454" y="95615"/>
                    <a:pt x="37380" y="94937"/>
                    <a:pt x="38985" y="95706"/>
                  </a:cubicBezTo>
                  <a:close/>
                  <a:moveTo>
                    <a:pt x="38998" y="80024"/>
                  </a:moveTo>
                  <a:lnTo>
                    <a:pt x="103136" y="110625"/>
                  </a:lnTo>
                  <a:cubicBezTo>
                    <a:pt x="102040" y="111115"/>
                    <a:pt x="100970" y="111618"/>
                    <a:pt x="99926" y="112147"/>
                  </a:cubicBezTo>
                  <a:cubicBezTo>
                    <a:pt x="98508" y="112843"/>
                    <a:pt x="97193" y="113578"/>
                    <a:pt x="95916" y="114326"/>
                  </a:cubicBezTo>
                  <a:lnTo>
                    <a:pt x="36213" y="85853"/>
                  </a:lnTo>
                  <a:cubicBezTo>
                    <a:pt x="34604" y="85084"/>
                    <a:pt x="33924" y="83155"/>
                    <a:pt x="34692" y="81546"/>
                  </a:cubicBezTo>
                  <a:cubicBezTo>
                    <a:pt x="35460" y="79936"/>
                    <a:pt x="37389" y="79256"/>
                    <a:pt x="38998" y="80024"/>
                  </a:cubicBezTo>
                  <a:close/>
                  <a:moveTo>
                    <a:pt x="161808" y="21904"/>
                  </a:moveTo>
                  <a:cubicBezTo>
                    <a:pt x="155821" y="25550"/>
                    <a:pt x="148924" y="27428"/>
                    <a:pt x="141916" y="27321"/>
                  </a:cubicBezTo>
                  <a:cubicBezTo>
                    <a:pt x="135430" y="27393"/>
                    <a:pt x="129035" y="25790"/>
                    <a:pt x="123351" y="22665"/>
                  </a:cubicBezTo>
                  <a:lnTo>
                    <a:pt x="86042" y="42602"/>
                  </a:lnTo>
                  <a:cubicBezTo>
                    <a:pt x="89484" y="45782"/>
                    <a:pt x="91492" y="50219"/>
                    <a:pt x="91611" y="54904"/>
                  </a:cubicBezTo>
                  <a:cubicBezTo>
                    <a:pt x="91611" y="62551"/>
                    <a:pt x="85861" y="69244"/>
                    <a:pt x="77275" y="72958"/>
                  </a:cubicBezTo>
                  <a:lnTo>
                    <a:pt x="114958" y="90921"/>
                  </a:lnTo>
                  <a:lnTo>
                    <a:pt x="204352" y="41996"/>
                  </a:lnTo>
                  <a:close/>
                  <a:moveTo>
                    <a:pt x="148529" y="1413"/>
                  </a:moveTo>
                  <a:lnTo>
                    <a:pt x="386491" y="113605"/>
                  </a:lnTo>
                  <a:lnTo>
                    <a:pt x="386542" y="113579"/>
                  </a:lnTo>
                  <a:cubicBezTo>
                    <a:pt x="387794" y="114172"/>
                    <a:pt x="388827" y="115143"/>
                    <a:pt x="389496" y="116356"/>
                  </a:cubicBezTo>
                  <a:cubicBezTo>
                    <a:pt x="391256" y="119549"/>
                    <a:pt x="390095" y="123565"/>
                    <a:pt x="386903" y="125327"/>
                  </a:cubicBezTo>
                  <a:lnTo>
                    <a:pt x="286629" y="180184"/>
                  </a:lnTo>
                  <a:cubicBezTo>
                    <a:pt x="282418" y="182486"/>
                    <a:pt x="277358" y="182625"/>
                    <a:pt x="273028" y="180558"/>
                  </a:cubicBezTo>
                  <a:lnTo>
                    <a:pt x="232341" y="161150"/>
                  </a:lnTo>
                  <a:cubicBezTo>
                    <a:pt x="234919" y="157652"/>
                    <a:pt x="236681" y="153619"/>
                    <a:pt x="237497" y="149351"/>
                  </a:cubicBezTo>
                  <a:lnTo>
                    <a:pt x="254863" y="157630"/>
                  </a:lnTo>
                  <a:cubicBezTo>
                    <a:pt x="259942" y="151130"/>
                    <a:pt x="269676" y="146733"/>
                    <a:pt x="280866" y="146733"/>
                  </a:cubicBezTo>
                  <a:cubicBezTo>
                    <a:pt x="290741" y="146733"/>
                    <a:pt x="299508" y="150176"/>
                    <a:pt x="304923" y="155463"/>
                  </a:cubicBezTo>
                  <a:lnTo>
                    <a:pt x="346177" y="132883"/>
                  </a:lnTo>
                  <a:cubicBezTo>
                    <a:pt x="341381" y="129157"/>
                    <a:pt x="338442" y="124179"/>
                    <a:pt x="338442" y="118698"/>
                  </a:cubicBezTo>
                  <a:cubicBezTo>
                    <a:pt x="338514" y="114488"/>
                    <a:pt x="340162" y="110458"/>
                    <a:pt x="343057" y="107402"/>
                  </a:cubicBezTo>
                  <a:lnTo>
                    <a:pt x="298232" y="86202"/>
                  </a:lnTo>
                  <a:lnTo>
                    <a:pt x="229027" y="124063"/>
                  </a:lnTo>
                  <a:cubicBezTo>
                    <a:pt x="224203" y="119146"/>
                    <a:pt x="218558" y="115109"/>
                    <a:pt x="212345" y="112134"/>
                  </a:cubicBezTo>
                  <a:cubicBezTo>
                    <a:pt x="197235" y="104552"/>
                    <a:pt x="177279" y="100374"/>
                    <a:pt x="156161" y="100374"/>
                  </a:cubicBezTo>
                  <a:cubicBezTo>
                    <a:pt x="142684" y="100292"/>
                    <a:pt x="129263" y="102120"/>
                    <a:pt x="116299" y="105803"/>
                  </a:cubicBezTo>
                  <a:lnTo>
                    <a:pt x="35079" y="67116"/>
                  </a:lnTo>
                  <a:cubicBezTo>
                    <a:pt x="33810" y="66510"/>
                    <a:pt x="32767" y="65515"/>
                    <a:pt x="32103" y="64273"/>
                  </a:cubicBezTo>
                  <a:cubicBezTo>
                    <a:pt x="30388" y="61063"/>
                    <a:pt x="31600" y="57071"/>
                    <a:pt x="34809" y="55355"/>
                  </a:cubicBezTo>
                  <a:lnTo>
                    <a:pt x="135122" y="1749"/>
                  </a:lnTo>
                  <a:cubicBezTo>
                    <a:pt x="139291" y="-460"/>
                    <a:pt x="144254" y="-584"/>
                    <a:pt x="148529" y="1413"/>
                  </a:cubicBezTo>
                  <a:close/>
                </a:path>
              </a:pathLst>
            </a:custGeom>
            <a:solidFill>
              <a:srgbClr val="025EA1"/>
            </a:solidFill>
            <a:ln w="12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59FF7BE1-A2B9-991C-CE9A-EA7C507E9661}"/>
              </a:ext>
            </a:extLst>
          </p:cNvPr>
          <p:cNvGrpSpPr/>
          <p:nvPr/>
        </p:nvGrpSpPr>
        <p:grpSpPr>
          <a:xfrm>
            <a:off x="5139301" y="816129"/>
            <a:ext cx="545669" cy="532613"/>
            <a:chOff x="6672628" y="1995183"/>
            <a:chExt cx="719999" cy="720000"/>
          </a:xfrm>
        </p:grpSpPr>
        <p:pic>
          <p:nvPicPr>
            <p:cNvPr id="36" name="Рисунок 35">
              <a:extLst>
                <a:ext uri="{FF2B5EF4-FFF2-40B4-BE49-F238E27FC236}">
                  <a16:creationId xmlns:a16="http://schemas.microsoft.com/office/drawing/2014/main" id="{2ABE9231-6548-ACCE-51BA-7FE3F05010E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/>
            <a:stretch/>
          </p:blipFill>
          <p:spPr>
            <a:xfrm>
              <a:off x="6672628" y="1995183"/>
              <a:ext cx="719999" cy="720000"/>
            </a:xfrm>
            <a:prstGeom prst="rect">
              <a:avLst/>
            </a:prstGeom>
          </p:spPr>
        </p:pic>
        <p:sp>
          <p:nvSpPr>
            <p:cNvPr id="37" name="Полилиния 64">
              <a:extLst>
                <a:ext uri="{FF2B5EF4-FFF2-40B4-BE49-F238E27FC236}">
                  <a16:creationId xmlns:a16="http://schemas.microsoft.com/office/drawing/2014/main" id="{D418FF1B-1539-D62E-BDFA-82FDBF6C50B0}"/>
                </a:ext>
              </a:extLst>
            </p:cNvPr>
            <p:cNvSpPr/>
            <p:nvPr/>
          </p:nvSpPr>
          <p:spPr>
            <a:xfrm>
              <a:off x="6807872" y="2131303"/>
              <a:ext cx="434608" cy="433342"/>
            </a:xfrm>
            <a:custGeom>
              <a:avLst/>
              <a:gdLst>
                <a:gd name="connsiteX0" fmla="*/ 291279 w 434608"/>
                <a:gd name="connsiteY0" fmla="*/ 214110 h 433342"/>
                <a:gd name="connsiteX1" fmla="*/ 215539 w 434608"/>
                <a:gd name="connsiteY1" fmla="*/ 318073 h 433342"/>
                <a:gd name="connsiteX2" fmla="*/ 319459 w 434608"/>
                <a:gd name="connsiteY2" fmla="*/ 393843 h 433342"/>
                <a:gd name="connsiteX3" fmla="*/ 395203 w 434608"/>
                <a:gd name="connsiteY3" fmla="*/ 289905 h 433342"/>
                <a:gd name="connsiteX4" fmla="*/ 395199 w 434608"/>
                <a:gd name="connsiteY4" fmla="*/ 289880 h 433342"/>
                <a:gd name="connsiteX5" fmla="*/ 291279 w 434608"/>
                <a:gd name="connsiteY5" fmla="*/ 214110 h 433342"/>
                <a:gd name="connsiteX6" fmla="*/ 307098 w 434608"/>
                <a:gd name="connsiteY6" fmla="*/ 174606 h 433342"/>
                <a:gd name="connsiteX7" fmla="*/ 312731 w 434608"/>
                <a:gd name="connsiteY7" fmla="*/ 174799 h 433342"/>
                <a:gd name="connsiteX8" fmla="*/ 338640 w 434608"/>
                <a:gd name="connsiteY8" fmla="*/ 178913 h 433342"/>
                <a:gd name="connsiteX9" fmla="*/ 344054 w 434608"/>
                <a:gd name="connsiteY9" fmla="*/ 180486 h 433342"/>
                <a:gd name="connsiteX10" fmla="*/ 345872 w 434608"/>
                <a:gd name="connsiteY10" fmla="*/ 194607 h 433342"/>
                <a:gd name="connsiteX11" fmla="*/ 352923 w 434608"/>
                <a:gd name="connsiteY11" fmla="*/ 204511 h 433342"/>
                <a:gd name="connsiteX12" fmla="*/ 358079 w 434608"/>
                <a:gd name="connsiteY12" fmla="*/ 207154 h 433342"/>
                <a:gd name="connsiteX13" fmla="*/ 364111 w 434608"/>
                <a:gd name="connsiteY13" fmla="*/ 208689 h 433342"/>
                <a:gd name="connsiteX14" fmla="*/ 370299 w 434608"/>
                <a:gd name="connsiteY14" fmla="*/ 207116 h 433342"/>
                <a:gd name="connsiteX15" fmla="*/ 382725 w 434608"/>
                <a:gd name="connsiteY15" fmla="*/ 200371 h 433342"/>
                <a:gd name="connsiteX16" fmla="*/ 387172 w 434608"/>
                <a:gd name="connsiteY16" fmla="*/ 203840 h 433342"/>
                <a:gd name="connsiteX17" fmla="*/ 405824 w 434608"/>
                <a:gd name="connsiteY17" fmla="*/ 222500 h 433342"/>
                <a:gd name="connsiteX18" fmla="*/ 409279 w 434608"/>
                <a:gd name="connsiteY18" fmla="*/ 226949 h 433342"/>
                <a:gd name="connsiteX19" fmla="*/ 402486 w 434608"/>
                <a:gd name="connsiteY19" fmla="*/ 239380 h 433342"/>
                <a:gd name="connsiteX20" fmla="*/ 402383 w 434608"/>
                <a:gd name="connsiteY20" fmla="*/ 251566 h 433342"/>
                <a:gd name="connsiteX21" fmla="*/ 404961 w 434608"/>
                <a:gd name="connsiteY21" fmla="*/ 256725 h 433342"/>
                <a:gd name="connsiteX22" fmla="*/ 414860 w 434608"/>
                <a:gd name="connsiteY22" fmla="*/ 263856 h 433342"/>
                <a:gd name="connsiteX23" fmla="*/ 428808 w 434608"/>
                <a:gd name="connsiteY23" fmla="*/ 265597 h 433342"/>
                <a:gd name="connsiteX24" fmla="*/ 430342 w 434608"/>
                <a:gd name="connsiteY24" fmla="*/ 271026 h 433342"/>
                <a:gd name="connsiteX25" fmla="*/ 433023 w 434608"/>
                <a:gd name="connsiteY25" fmla="*/ 283921 h 433342"/>
                <a:gd name="connsiteX26" fmla="*/ 434415 w 434608"/>
                <a:gd name="connsiteY26" fmla="*/ 296997 h 433342"/>
                <a:gd name="connsiteX27" fmla="*/ 434608 w 434608"/>
                <a:gd name="connsiteY27" fmla="*/ 302620 h 433342"/>
                <a:gd name="connsiteX28" fmla="*/ 421821 w 434608"/>
                <a:gd name="connsiteY28" fmla="*/ 308681 h 433342"/>
                <a:gd name="connsiteX29" fmla="*/ 414577 w 434608"/>
                <a:gd name="connsiteY29" fmla="*/ 318494 h 433342"/>
                <a:gd name="connsiteX30" fmla="*/ 413662 w 434608"/>
                <a:gd name="connsiteY30" fmla="*/ 324259 h 433342"/>
                <a:gd name="connsiteX31" fmla="*/ 417529 w 434608"/>
                <a:gd name="connsiteY31" fmla="*/ 335864 h 433342"/>
                <a:gd name="connsiteX32" fmla="*/ 427841 w 434608"/>
                <a:gd name="connsiteY32" fmla="*/ 345626 h 433342"/>
                <a:gd name="connsiteX33" fmla="*/ 425895 w 434608"/>
                <a:gd name="connsiteY33" fmla="*/ 350926 h 433342"/>
                <a:gd name="connsiteX34" fmla="*/ 413907 w 434608"/>
                <a:gd name="connsiteY34" fmla="*/ 374280 h 433342"/>
                <a:gd name="connsiteX35" fmla="*/ 410723 w 434608"/>
                <a:gd name="connsiteY35" fmla="*/ 378936 h 433342"/>
                <a:gd name="connsiteX36" fmla="*/ 396788 w 434608"/>
                <a:gd name="connsiteY36" fmla="*/ 376395 h 433342"/>
                <a:gd name="connsiteX37" fmla="*/ 394365 w 434608"/>
                <a:gd name="connsiteY37" fmla="*/ 376163 h 433342"/>
                <a:gd name="connsiteX38" fmla="*/ 385148 w 434608"/>
                <a:gd name="connsiteY38" fmla="*/ 380096 h 433342"/>
                <a:gd name="connsiteX39" fmla="*/ 381062 w 434608"/>
                <a:gd name="connsiteY39" fmla="*/ 384184 h 433342"/>
                <a:gd name="connsiteX40" fmla="*/ 377375 w 434608"/>
                <a:gd name="connsiteY40" fmla="*/ 395790 h 433342"/>
                <a:gd name="connsiteX41" fmla="*/ 379954 w 434608"/>
                <a:gd name="connsiteY41" fmla="*/ 409795 h 433342"/>
                <a:gd name="connsiteX42" fmla="*/ 375287 w 434608"/>
                <a:gd name="connsiteY42" fmla="*/ 412954 h 433342"/>
                <a:gd name="connsiteX43" fmla="*/ 351879 w 434608"/>
                <a:gd name="connsiteY43" fmla="*/ 424792 h 433342"/>
                <a:gd name="connsiteX44" fmla="*/ 346568 w 434608"/>
                <a:gd name="connsiteY44" fmla="*/ 426701 h 433342"/>
                <a:gd name="connsiteX45" fmla="*/ 336874 w 434608"/>
                <a:gd name="connsiteY45" fmla="*/ 416384 h 433342"/>
                <a:gd name="connsiteX46" fmla="*/ 325028 w 434608"/>
                <a:gd name="connsiteY46" fmla="*/ 412515 h 433342"/>
                <a:gd name="connsiteX47" fmla="*/ 322450 w 434608"/>
                <a:gd name="connsiteY47" fmla="*/ 412954 h 433342"/>
                <a:gd name="connsiteX48" fmla="*/ 319872 w 434608"/>
                <a:gd name="connsiteY48" fmla="*/ 413328 h 433342"/>
                <a:gd name="connsiteX49" fmla="*/ 309766 w 434608"/>
                <a:gd name="connsiteY49" fmla="*/ 420588 h 433342"/>
                <a:gd name="connsiteX50" fmla="*/ 303682 w 434608"/>
                <a:gd name="connsiteY50" fmla="*/ 433342 h 433342"/>
                <a:gd name="connsiteX51" fmla="*/ 298049 w 434608"/>
                <a:gd name="connsiteY51" fmla="*/ 433148 h 433342"/>
                <a:gd name="connsiteX52" fmla="*/ 272139 w 434608"/>
                <a:gd name="connsiteY52" fmla="*/ 429048 h 433342"/>
                <a:gd name="connsiteX53" fmla="*/ 266725 w 434608"/>
                <a:gd name="connsiteY53" fmla="*/ 427461 h 433342"/>
                <a:gd name="connsiteX54" fmla="*/ 264908 w 434608"/>
                <a:gd name="connsiteY54" fmla="*/ 413341 h 433342"/>
                <a:gd name="connsiteX55" fmla="*/ 257857 w 434608"/>
                <a:gd name="connsiteY55" fmla="*/ 403437 h 433342"/>
                <a:gd name="connsiteX56" fmla="*/ 252701 w 434608"/>
                <a:gd name="connsiteY56" fmla="*/ 400793 h 433342"/>
                <a:gd name="connsiteX57" fmla="*/ 246668 w 434608"/>
                <a:gd name="connsiteY57" fmla="*/ 399259 h 433342"/>
                <a:gd name="connsiteX58" fmla="*/ 240481 w 434608"/>
                <a:gd name="connsiteY58" fmla="*/ 400819 h 433342"/>
                <a:gd name="connsiteX59" fmla="*/ 228029 w 434608"/>
                <a:gd name="connsiteY59" fmla="*/ 407589 h 433342"/>
                <a:gd name="connsiteX60" fmla="*/ 223569 w 434608"/>
                <a:gd name="connsiteY60" fmla="*/ 404120 h 433342"/>
                <a:gd name="connsiteX61" fmla="*/ 205007 w 434608"/>
                <a:gd name="connsiteY61" fmla="*/ 385551 h 433342"/>
                <a:gd name="connsiteX62" fmla="*/ 201552 w 434608"/>
                <a:gd name="connsiteY62" fmla="*/ 381115 h 433342"/>
                <a:gd name="connsiteX63" fmla="*/ 208384 w 434608"/>
                <a:gd name="connsiteY63" fmla="*/ 368593 h 433342"/>
                <a:gd name="connsiteX64" fmla="*/ 208487 w 434608"/>
                <a:gd name="connsiteY64" fmla="*/ 356420 h 433342"/>
                <a:gd name="connsiteX65" fmla="*/ 205909 w 434608"/>
                <a:gd name="connsiteY65" fmla="*/ 351262 h 433342"/>
                <a:gd name="connsiteX66" fmla="*/ 196009 w 434608"/>
                <a:gd name="connsiteY66" fmla="*/ 344118 h 433342"/>
                <a:gd name="connsiteX67" fmla="*/ 181985 w 434608"/>
                <a:gd name="connsiteY67" fmla="*/ 342274 h 433342"/>
                <a:gd name="connsiteX68" fmla="*/ 180438 w 434608"/>
                <a:gd name="connsiteY68" fmla="*/ 336857 h 433342"/>
                <a:gd name="connsiteX69" fmla="*/ 177757 w 434608"/>
                <a:gd name="connsiteY69" fmla="*/ 323962 h 433342"/>
                <a:gd name="connsiteX70" fmla="*/ 176377 w 434608"/>
                <a:gd name="connsiteY70" fmla="*/ 310886 h 433342"/>
                <a:gd name="connsiteX71" fmla="*/ 176184 w 434608"/>
                <a:gd name="connsiteY71" fmla="*/ 305251 h 433342"/>
                <a:gd name="connsiteX72" fmla="*/ 188971 w 434608"/>
                <a:gd name="connsiteY72" fmla="*/ 299190 h 433342"/>
                <a:gd name="connsiteX73" fmla="*/ 196215 w 434608"/>
                <a:gd name="connsiteY73" fmla="*/ 289376 h 433342"/>
                <a:gd name="connsiteX74" fmla="*/ 197131 w 434608"/>
                <a:gd name="connsiteY74" fmla="*/ 283612 h 433342"/>
                <a:gd name="connsiteX75" fmla="*/ 193264 w 434608"/>
                <a:gd name="connsiteY75" fmla="*/ 272006 h 433342"/>
                <a:gd name="connsiteX76" fmla="*/ 182951 w 434608"/>
                <a:gd name="connsiteY76" fmla="*/ 262244 h 433342"/>
                <a:gd name="connsiteX77" fmla="*/ 184898 w 434608"/>
                <a:gd name="connsiteY77" fmla="*/ 256957 h 433342"/>
                <a:gd name="connsiteX78" fmla="*/ 196886 w 434608"/>
                <a:gd name="connsiteY78" fmla="*/ 233603 h 433342"/>
                <a:gd name="connsiteX79" fmla="*/ 200070 w 434608"/>
                <a:gd name="connsiteY79" fmla="*/ 228935 h 433342"/>
                <a:gd name="connsiteX80" fmla="*/ 213991 w 434608"/>
                <a:gd name="connsiteY80" fmla="*/ 231514 h 433342"/>
                <a:gd name="connsiteX81" fmla="*/ 216415 w 434608"/>
                <a:gd name="connsiteY81" fmla="*/ 231733 h 433342"/>
                <a:gd name="connsiteX82" fmla="*/ 225631 w 434608"/>
                <a:gd name="connsiteY82" fmla="*/ 227865 h 433342"/>
                <a:gd name="connsiteX83" fmla="*/ 229717 w 434608"/>
                <a:gd name="connsiteY83" fmla="*/ 223764 h 433342"/>
                <a:gd name="connsiteX84" fmla="*/ 233404 w 434608"/>
                <a:gd name="connsiteY84" fmla="*/ 212158 h 433342"/>
                <a:gd name="connsiteX85" fmla="*/ 230826 w 434608"/>
                <a:gd name="connsiteY85" fmla="*/ 198166 h 433342"/>
                <a:gd name="connsiteX86" fmla="*/ 235492 w 434608"/>
                <a:gd name="connsiteY86" fmla="*/ 195007 h 433342"/>
                <a:gd name="connsiteX87" fmla="*/ 258901 w 434608"/>
                <a:gd name="connsiteY87" fmla="*/ 183156 h 433342"/>
                <a:gd name="connsiteX88" fmla="*/ 264212 w 434608"/>
                <a:gd name="connsiteY88" fmla="*/ 181247 h 433342"/>
                <a:gd name="connsiteX89" fmla="*/ 273905 w 434608"/>
                <a:gd name="connsiteY89" fmla="*/ 191564 h 433342"/>
                <a:gd name="connsiteX90" fmla="*/ 285751 w 434608"/>
                <a:gd name="connsiteY90" fmla="*/ 195432 h 433342"/>
                <a:gd name="connsiteX91" fmla="*/ 288329 w 434608"/>
                <a:gd name="connsiteY91" fmla="*/ 194994 h 433342"/>
                <a:gd name="connsiteX92" fmla="*/ 290907 w 434608"/>
                <a:gd name="connsiteY92" fmla="*/ 194620 h 433342"/>
                <a:gd name="connsiteX93" fmla="*/ 301013 w 434608"/>
                <a:gd name="connsiteY93" fmla="*/ 187373 h 433342"/>
                <a:gd name="connsiteX94" fmla="*/ 174624 w 434608"/>
                <a:gd name="connsiteY94" fmla="*/ 65265 h 433342"/>
                <a:gd name="connsiteX95" fmla="*/ 182211 w 434608"/>
                <a:gd name="connsiteY95" fmla="*/ 65542 h 433342"/>
                <a:gd name="connsiteX96" fmla="*/ 283818 w 434608"/>
                <a:gd name="connsiteY96" fmla="*/ 182795 h 433342"/>
                <a:gd name="connsiteX97" fmla="*/ 283392 w 434608"/>
                <a:gd name="connsiteY97" fmla="*/ 182872 h 433342"/>
                <a:gd name="connsiteX98" fmla="*/ 283238 w 434608"/>
                <a:gd name="connsiteY98" fmla="*/ 182872 h 433342"/>
                <a:gd name="connsiteX99" fmla="*/ 273570 w 434608"/>
                <a:gd name="connsiteY99" fmla="*/ 172556 h 433342"/>
                <a:gd name="connsiteX100" fmla="*/ 270992 w 434608"/>
                <a:gd name="connsiteY100" fmla="*/ 169886 h 433342"/>
                <a:gd name="connsiteX101" fmla="*/ 270051 w 434608"/>
                <a:gd name="connsiteY101" fmla="*/ 160563 h 433342"/>
                <a:gd name="connsiteX102" fmla="*/ 174586 w 434608"/>
                <a:gd name="connsiteY102" fmla="*/ 78186 h 433342"/>
                <a:gd name="connsiteX103" fmla="*/ 160097 w 434608"/>
                <a:gd name="connsiteY103" fmla="*/ 79270 h 433342"/>
                <a:gd name="connsiteX104" fmla="*/ 77755 w 434608"/>
                <a:gd name="connsiteY104" fmla="*/ 174401 h 433342"/>
                <a:gd name="connsiteX105" fmla="*/ 173915 w 434608"/>
                <a:gd name="connsiteY105" fmla="*/ 271632 h 433342"/>
                <a:gd name="connsiteX106" fmla="*/ 174018 w 434608"/>
                <a:gd name="connsiteY106" fmla="*/ 271722 h 433342"/>
                <a:gd name="connsiteX107" fmla="*/ 184331 w 434608"/>
                <a:gd name="connsiteY107" fmla="*/ 281484 h 433342"/>
                <a:gd name="connsiteX108" fmla="*/ 183879 w 434608"/>
                <a:gd name="connsiteY108" fmla="*/ 284063 h 433342"/>
                <a:gd name="connsiteX109" fmla="*/ 174341 w 434608"/>
                <a:gd name="connsiteY109" fmla="*/ 284489 h 433342"/>
                <a:gd name="connsiteX110" fmla="*/ 64915 w 434608"/>
                <a:gd name="connsiteY110" fmla="*/ 174735 h 433342"/>
                <a:gd name="connsiteX111" fmla="*/ 174624 w 434608"/>
                <a:gd name="connsiteY111" fmla="*/ 65265 h 433342"/>
                <a:gd name="connsiteX112" fmla="*/ 174134 w 434608"/>
                <a:gd name="connsiteY112" fmla="*/ 51080 h 433342"/>
                <a:gd name="connsiteX113" fmla="*/ 229781 w 434608"/>
                <a:gd name="connsiteY113" fmla="*/ 64298 h 433342"/>
                <a:gd name="connsiteX114" fmla="*/ 296875 w 434608"/>
                <a:gd name="connsiteY114" fmla="*/ 166172 h 433342"/>
                <a:gd name="connsiteX115" fmla="*/ 295522 w 434608"/>
                <a:gd name="connsiteY115" fmla="*/ 168984 h 433342"/>
                <a:gd name="connsiteX116" fmla="*/ 290637 w 434608"/>
                <a:gd name="connsiteY116" fmla="*/ 179300 h 433342"/>
                <a:gd name="connsiteX117" fmla="*/ 290747 w 434608"/>
                <a:gd name="connsiteY117" fmla="*/ 174330 h 433342"/>
                <a:gd name="connsiteX118" fmla="*/ 174228 w 434608"/>
                <a:gd name="connsiteY118" fmla="*/ 57515 h 433342"/>
                <a:gd name="connsiteX119" fmla="*/ 57459 w 434608"/>
                <a:gd name="connsiteY119" fmla="*/ 174082 h 433342"/>
                <a:gd name="connsiteX120" fmla="*/ 173979 w 434608"/>
                <a:gd name="connsiteY120" fmla="*/ 290898 h 433342"/>
                <a:gd name="connsiteX121" fmla="*/ 176416 w 434608"/>
                <a:gd name="connsiteY121" fmla="*/ 290898 h 433342"/>
                <a:gd name="connsiteX122" fmla="*/ 170615 w 434608"/>
                <a:gd name="connsiteY122" fmla="*/ 293645 h 433342"/>
                <a:gd name="connsiteX123" fmla="*/ 163590 w 434608"/>
                <a:gd name="connsiteY123" fmla="*/ 296972 h 433342"/>
                <a:gd name="connsiteX124" fmla="*/ 118480 w 434608"/>
                <a:gd name="connsiteY124" fmla="*/ 284124 h 433342"/>
                <a:gd name="connsiteX125" fmla="*/ 64270 w 434608"/>
                <a:gd name="connsiteY125" fmla="*/ 118523 h 433342"/>
                <a:gd name="connsiteX126" fmla="*/ 174134 w 434608"/>
                <a:gd name="connsiteY126" fmla="*/ 51080 h 433342"/>
                <a:gd name="connsiteX127" fmla="*/ 169984 w 434608"/>
                <a:gd name="connsiteY127" fmla="*/ 0 h 433342"/>
                <a:gd name="connsiteX128" fmla="*/ 178595 w 434608"/>
                <a:gd name="connsiteY128" fmla="*/ 529 h 433342"/>
                <a:gd name="connsiteX129" fmla="*/ 185556 w 434608"/>
                <a:gd name="connsiteY129" fmla="*/ 954 h 433342"/>
                <a:gd name="connsiteX130" fmla="*/ 220424 w 434608"/>
                <a:gd name="connsiteY130" fmla="*/ 6719 h 433342"/>
                <a:gd name="connsiteX131" fmla="*/ 227140 w 434608"/>
                <a:gd name="connsiteY131" fmla="*/ 8563 h 433342"/>
                <a:gd name="connsiteX132" fmla="*/ 235480 w 434608"/>
                <a:gd name="connsiteY132" fmla="*/ 10845 h 433342"/>
                <a:gd name="connsiteX133" fmla="*/ 236524 w 434608"/>
                <a:gd name="connsiteY133" fmla="*/ 19434 h 433342"/>
                <a:gd name="connsiteX134" fmla="*/ 239179 w 434608"/>
                <a:gd name="connsiteY134" fmla="*/ 41356 h 433342"/>
                <a:gd name="connsiteX135" fmla="*/ 239347 w 434608"/>
                <a:gd name="connsiteY135" fmla="*/ 41485 h 433342"/>
                <a:gd name="connsiteX136" fmla="*/ 246333 w 434608"/>
                <a:gd name="connsiteY136" fmla="*/ 45134 h 433342"/>
                <a:gd name="connsiteX137" fmla="*/ 246488 w 434608"/>
                <a:gd name="connsiteY137" fmla="*/ 45212 h 433342"/>
                <a:gd name="connsiteX138" fmla="*/ 265823 w 434608"/>
                <a:gd name="connsiteY138" fmla="*/ 34895 h 433342"/>
                <a:gd name="connsiteX139" fmla="*/ 273442 w 434608"/>
                <a:gd name="connsiteY139" fmla="*/ 30820 h 433342"/>
                <a:gd name="connsiteX140" fmla="*/ 280106 w 434608"/>
                <a:gd name="connsiteY140" fmla="*/ 36327 h 433342"/>
                <a:gd name="connsiteX141" fmla="*/ 285481 w 434608"/>
                <a:gd name="connsiteY141" fmla="*/ 40763 h 433342"/>
                <a:gd name="connsiteX142" fmla="*/ 310346 w 434608"/>
                <a:gd name="connsiteY142" fmla="*/ 65973 h 433342"/>
                <a:gd name="connsiteX143" fmla="*/ 314716 w 434608"/>
                <a:gd name="connsiteY143" fmla="*/ 71402 h 433342"/>
                <a:gd name="connsiteX144" fmla="*/ 320143 w 434608"/>
                <a:gd name="connsiteY144" fmla="*/ 78160 h 433342"/>
                <a:gd name="connsiteX145" fmla="*/ 315928 w 434608"/>
                <a:gd name="connsiteY145" fmla="*/ 85729 h 433342"/>
                <a:gd name="connsiteX146" fmla="*/ 305281 w 434608"/>
                <a:gd name="connsiteY146" fmla="*/ 104905 h 433342"/>
                <a:gd name="connsiteX147" fmla="*/ 305281 w 434608"/>
                <a:gd name="connsiteY147" fmla="*/ 105111 h 433342"/>
                <a:gd name="connsiteX148" fmla="*/ 308851 w 434608"/>
                <a:gd name="connsiteY148" fmla="*/ 112230 h 433342"/>
                <a:gd name="connsiteX149" fmla="*/ 308928 w 434608"/>
                <a:gd name="connsiteY149" fmla="*/ 112384 h 433342"/>
                <a:gd name="connsiteX150" fmla="*/ 330649 w 434608"/>
                <a:gd name="connsiteY150" fmla="*/ 115389 h 433342"/>
                <a:gd name="connsiteX151" fmla="*/ 339234 w 434608"/>
                <a:gd name="connsiteY151" fmla="*/ 116575 h 433342"/>
                <a:gd name="connsiteX152" fmla="*/ 341373 w 434608"/>
                <a:gd name="connsiteY152" fmla="*/ 124983 h 433342"/>
                <a:gd name="connsiteX153" fmla="*/ 343088 w 434608"/>
                <a:gd name="connsiteY153" fmla="*/ 131728 h 433342"/>
                <a:gd name="connsiteX154" fmla="*/ 346581 w 434608"/>
                <a:gd name="connsiteY154" fmla="*/ 149059 h 433342"/>
                <a:gd name="connsiteX155" fmla="*/ 348321 w 434608"/>
                <a:gd name="connsiteY155" fmla="*/ 166649 h 433342"/>
                <a:gd name="connsiteX156" fmla="*/ 348399 w 434608"/>
                <a:gd name="connsiteY156" fmla="*/ 168364 h 433342"/>
                <a:gd name="connsiteX157" fmla="*/ 347947 w 434608"/>
                <a:gd name="connsiteY157" fmla="*/ 168222 h 433342"/>
                <a:gd name="connsiteX158" fmla="*/ 341979 w 434608"/>
                <a:gd name="connsiteY158" fmla="*/ 166481 h 433342"/>
                <a:gd name="connsiteX159" fmla="*/ 335302 w 434608"/>
                <a:gd name="connsiteY159" fmla="*/ 164882 h 433342"/>
                <a:gd name="connsiteX160" fmla="*/ 333832 w 434608"/>
                <a:gd name="connsiteY160" fmla="*/ 150968 h 433342"/>
                <a:gd name="connsiteX161" fmla="*/ 330584 w 434608"/>
                <a:gd name="connsiteY161" fmla="*/ 134900 h 433342"/>
                <a:gd name="connsiteX162" fmla="*/ 328960 w 434608"/>
                <a:gd name="connsiteY162" fmla="*/ 128091 h 433342"/>
                <a:gd name="connsiteX163" fmla="*/ 307240 w 434608"/>
                <a:gd name="connsiteY163" fmla="*/ 125087 h 433342"/>
                <a:gd name="connsiteX164" fmla="*/ 297250 w 434608"/>
                <a:gd name="connsiteY164" fmla="*/ 117620 h 433342"/>
                <a:gd name="connsiteX165" fmla="*/ 294002 w 434608"/>
                <a:gd name="connsiteY165" fmla="*/ 111172 h 433342"/>
                <a:gd name="connsiteX166" fmla="*/ 294002 w 434608"/>
                <a:gd name="connsiteY166" fmla="*/ 98689 h 433342"/>
                <a:gd name="connsiteX167" fmla="*/ 304675 w 434608"/>
                <a:gd name="connsiteY167" fmla="*/ 79449 h 433342"/>
                <a:gd name="connsiteX168" fmla="*/ 300318 w 434608"/>
                <a:gd name="connsiteY168" fmla="*/ 74059 h 433342"/>
                <a:gd name="connsiteX169" fmla="*/ 277334 w 434608"/>
                <a:gd name="connsiteY169" fmla="*/ 50770 h 433342"/>
                <a:gd name="connsiteX170" fmla="*/ 271959 w 434608"/>
                <a:gd name="connsiteY170" fmla="*/ 46334 h 433342"/>
                <a:gd name="connsiteX171" fmla="*/ 252624 w 434608"/>
                <a:gd name="connsiteY171" fmla="*/ 56650 h 433342"/>
                <a:gd name="connsiteX172" fmla="*/ 246591 w 434608"/>
                <a:gd name="connsiteY172" fmla="*/ 58159 h 433342"/>
                <a:gd name="connsiteX173" fmla="*/ 240146 w 434608"/>
                <a:gd name="connsiteY173" fmla="*/ 56469 h 433342"/>
                <a:gd name="connsiteX174" fmla="*/ 233701 w 434608"/>
                <a:gd name="connsiteY174" fmla="*/ 53142 h 433342"/>
                <a:gd name="connsiteX175" fmla="*/ 226418 w 434608"/>
                <a:gd name="connsiteY175" fmla="*/ 43045 h 433342"/>
                <a:gd name="connsiteX176" fmla="*/ 223749 w 434608"/>
                <a:gd name="connsiteY176" fmla="*/ 21123 h 433342"/>
                <a:gd name="connsiteX177" fmla="*/ 217034 w 434608"/>
                <a:gd name="connsiteY177" fmla="*/ 19292 h 433342"/>
                <a:gd name="connsiteX178" fmla="*/ 184808 w 434608"/>
                <a:gd name="connsiteY178" fmla="*/ 13953 h 433342"/>
                <a:gd name="connsiteX179" fmla="*/ 177847 w 434608"/>
                <a:gd name="connsiteY179" fmla="*/ 13527 h 433342"/>
                <a:gd name="connsiteX180" fmla="*/ 168270 w 434608"/>
                <a:gd name="connsiteY180" fmla="*/ 33283 h 433342"/>
                <a:gd name="connsiteX181" fmla="*/ 158074 w 434608"/>
                <a:gd name="connsiteY181" fmla="*/ 40466 h 433342"/>
                <a:gd name="connsiteX182" fmla="*/ 154477 w 434608"/>
                <a:gd name="connsiteY182" fmla="*/ 40956 h 433342"/>
                <a:gd name="connsiteX183" fmla="*/ 150894 w 434608"/>
                <a:gd name="connsiteY183" fmla="*/ 41549 h 433342"/>
                <a:gd name="connsiteX184" fmla="*/ 148535 w 434608"/>
                <a:gd name="connsiteY184" fmla="*/ 41756 h 433342"/>
                <a:gd name="connsiteX185" fmla="*/ 139035 w 434608"/>
                <a:gd name="connsiteY185" fmla="*/ 37668 h 433342"/>
                <a:gd name="connsiteX186" fmla="*/ 124082 w 434608"/>
                <a:gd name="connsiteY186" fmla="*/ 21600 h 433342"/>
                <a:gd name="connsiteX187" fmla="*/ 117559 w 434608"/>
                <a:gd name="connsiteY187" fmla="*/ 24050 h 433342"/>
                <a:gd name="connsiteX188" fmla="*/ 88298 w 434608"/>
                <a:gd name="connsiteY188" fmla="*/ 38622 h 433342"/>
                <a:gd name="connsiteX189" fmla="*/ 82420 w 434608"/>
                <a:gd name="connsiteY189" fmla="*/ 42349 h 433342"/>
                <a:gd name="connsiteX190" fmla="*/ 86288 w 434608"/>
                <a:gd name="connsiteY190" fmla="*/ 64078 h 433342"/>
                <a:gd name="connsiteX191" fmla="*/ 82292 w 434608"/>
                <a:gd name="connsiteY191" fmla="*/ 75877 h 433342"/>
                <a:gd name="connsiteX192" fmla="*/ 77135 w 434608"/>
                <a:gd name="connsiteY192" fmla="*/ 80932 h 433342"/>
                <a:gd name="connsiteX193" fmla="*/ 65263 w 434608"/>
                <a:gd name="connsiteY193" fmla="*/ 84801 h 433342"/>
                <a:gd name="connsiteX194" fmla="*/ 43685 w 434608"/>
                <a:gd name="connsiteY194" fmla="*/ 80584 h 433342"/>
                <a:gd name="connsiteX195" fmla="*/ 39818 w 434608"/>
                <a:gd name="connsiteY195" fmla="*/ 86400 h 433342"/>
                <a:gd name="connsiteX196" fmla="*/ 24672 w 434608"/>
                <a:gd name="connsiteY196" fmla="*/ 115415 h 433342"/>
                <a:gd name="connsiteX197" fmla="*/ 22094 w 434608"/>
                <a:gd name="connsiteY197" fmla="*/ 121863 h 433342"/>
                <a:gd name="connsiteX198" fmla="*/ 37936 w 434608"/>
                <a:gd name="connsiteY198" fmla="*/ 137105 h 433342"/>
                <a:gd name="connsiteX199" fmla="*/ 41623 w 434608"/>
                <a:gd name="connsiteY199" fmla="*/ 149046 h 433342"/>
                <a:gd name="connsiteX200" fmla="*/ 40424 w 434608"/>
                <a:gd name="connsiteY200" fmla="*/ 156203 h 433342"/>
                <a:gd name="connsiteX201" fmla="*/ 33076 w 434608"/>
                <a:gd name="connsiteY201" fmla="*/ 166275 h 433342"/>
                <a:gd name="connsiteX202" fmla="*/ 13187 w 434608"/>
                <a:gd name="connsiteY202" fmla="*/ 175534 h 433342"/>
                <a:gd name="connsiteX203" fmla="*/ 13522 w 434608"/>
                <a:gd name="connsiteY203" fmla="*/ 182485 h 433342"/>
                <a:gd name="connsiteX204" fmla="*/ 15133 w 434608"/>
                <a:gd name="connsiteY204" fmla="*/ 198784 h 433342"/>
                <a:gd name="connsiteX205" fmla="*/ 18382 w 434608"/>
                <a:gd name="connsiteY205" fmla="*/ 214852 h 433342"/>
                <a:gd name="connsiteX206" fmla="*/ 20122 w 434608"/>
                <a:gd name="connsiteY206" fmla="*/ 221622 h 433342"/>
                <a:gd name="connsiteX207" fmla="*/ 41855 w 434608"/>
                <a:gd name="connsiteY207" fmla="*/ 224627 h 433342"/>
                <a:gd name="connsiteX208" fmla="*/ 51832 w 434608"/>
                <a:gd name="connsiteY208" fmla="*/ 232094 h 433342"/>
                <a:gd name="connsiteX209" fmla="*/ 55080 w 434608"/>
                <a:gd name="connsiteY209" fmla="*/ 238541 h 433342"/>
                <a:gd name="connsiteX210" fmla="*/ 55080 w 434608"/>
                <a:gd name="connsiteY210" fmla="*/ 251024 h 433342"/>
                <a:gd name="connsiteX211" fmla="*/ 44407 w 434608"/>
                <a:gd name="connsiteY211" fmla="*/ 270264 h 433342"/>
                <a:gd name="connsiteX212" fmla="*/ 48764 w 434608"/>
                <a:gd name="connsiteY212" fmla="*/ 275680 h 433342"/>
                <a:gd name="connsiteX213" fmla="*/ 71747 w 434608"/>
                <a:gd name="connsiteY213" fmla="*/ 298970 h 433342"/>
                <a:gd name="connsiteX214" fmla="*/ 77123 w 434608"/>
                <a:gd name="connsiteY214" fmla="*/ 303406 h 433342"/>
                <a:gd name="connsiteX215" fmla="*/ 96458 w 434608"/>
                <a:gd name="connsiteY215" fmla="*/ 293089 h 433342"/>
                <a:gd name="connsiteX216" fmla="*/ 102491 w 434608"/>
                <a:gd name="connsiteY216" fmla="*/ 291581 h 433342"/>
                <a:gd name="connsiteX217" fmla="*/ 108936 w 434608"/>
                <a:gd name="connsiteY217" fmla="*/ 293270 h 433342"/>
                <a:gd name="connsiteX218" fmla="*/ 115381 w 434608"/>
                <a:gd name="connsiteY218" fmla="*/ 296597 h 433342"/>
                <a:gd name="connsiteX219" fmla="*/ 122664 w 434608"/>
                <a:gd name="connsiteY219" fmla="*/ 306694 h 433342"/>
                <a:gd name="connsiteX220" fmla="*/ 125332 w 434608"/>
                <a:gd name="connsiteY220" fmla="*/ 328617 h 433342"/>
                <a:gd name="connsiteX221" fmla="*/ 132048 w 434608"/>
                <a:gd name="connsiteY221" fmla="*/ 330448 h 433342"/>
                <a:gd name="connsiteX222" fmla="*/ 164274 w 434608"/>
                <a:gd name="connsiteY222" fmla="*/ 335786 h 433342"/>
                <a:gd name="connsiteX223" fmla="*/ 166852 w 434608"/>
                <a:gd name="connsiteY223" fmla="*/ 335954 h 433342"/>
                <a:gd name="connsiteX224" fmla="*/ 167870 w 434608"/>
                <a:gd name="connsiteY224" fmla="*/ 340132 h 433342"/>
                <a:gd name="connsiteX225" fmla="*/ 169559 w 434608"/>
                <a:gd name="connsiteY225" fmla="*/ 346090 h 433342"/>
                <a:gd name="connsiteX226" fmla="*/ 170448 w 434608"/>
                <a:gd name="connsiteY226" fmla="*/ 349159 h 433342"/>
                <a:gd name="connsiteX227" fmla="*/ 170371 w 434608"/>
                <a:gd name="connsiteY227" fmla="*/ 349159 h 433342"/>
                <a:gd name="connsiteX228" fmla="*/ 163410 w 434608"/>
                <a:gd name="connsiteY228" fmla="*/ 348734 h 433342"/>
                <a:gd name="connsiteX229" fmla="*/ 128542 w 434608"/>
                <a:gd name="connsiteY229" fmla="*/ 342969 h 433342"/>
                <a:gd name="connsiteX230" fmla="*/ 121826 w 434608"/>
                <a:gd name="connsiteY230" fmla="*/ 341125 h 433342"/>
                <a:gd name="connsiteX231" fmla="*/ 113486 w 434608"/>
                <a:gd name="connsiteY231" fmla="*/ 338843 h 433342"/>
                <a:gd name="connsiteX232" fmla="*/ 112442 w 434608"/>
                <a:gd name="connsiteY232" fmla="*/ 330241 h 433342"/>
                <a:gd name="connsiteX233" fmla="*/ 109787 w 434608"/>
                <a:gd name="connsiteY233" fmla="*/ 308396 h 433342"/>
                <a:gd name="connsiteX234" fmla="*/ 109619 w 434608"/>
                <a:gd name="connsiteY234" fmla="*/ 308267 h 433342"/>
                <a:gd name="connsiteX235" fmla="*/ 102632 w 434608"/>
                <a:gd name="connsiteY235" fmla="*/ 304618 h 433342"/>
                <a:gd name="connsiteX236" fmla="*/ 102478 w 434608"/>
                <a:gd name="connsiteY236" fmla="*/ 304541 h 433342"/>
                <a:gd name="connsiteX237" fmla="*/ 83142 w 434608"/>
                <a:gd name="connsiteY237" fmla="*/ 314857 h 433342"/>
                <a:gd name="connsiteX238" fmla="*/ 75524 w 434608"/>
                <a:gd name="connsiteY238" fmla="*/ 318932 h 433342"/>
                <a:gd name="connsiteX239" fmla="*/ 68860 w 434608"/>
                <a:gd name="connsiteY239" fmla="*/ 313426 h 433342"/>
                <a:gd name="connsiteX240" fmla="*/ 63485 w 434608"/>
                <a:gd name="connsiteY240" fmla="*/ 308990 h 433342"/>
                <a:gd name="connsiteX241" fmla="*/ 38619 w 434608"/>
                <a:gd name="connsiteY241" fmla="*/ 283779 h 433342"/>
                <a:gd name="connsiteX242" fmla="*/ 34249 w 434608"/>
                <a:gd name="connsiteY242" fmla="*/ 278350 h 433342"/>
                <a:gd name="connsiteX243" fmla="*/ 28823 w 434608"/>
                <a:gd name="connsiteY243" fmla="*/ 271593 h 433342"/>
                <a:gd name="connsiteX244" fmla="*/ 33154 w 434608"/>
                <a:gd name="connsiteY244" fmla="*/ 264036 h 433342"/>
                <a:gd name="connsiteX245" fmla="*/ 43801 w 434608"/>
                <a:gd name="connsiteY245" fmla="*/ 244860 h 433342"/>
                <a:gd name="connsiteX246" fmla="*/ 43801 w 434608"/>
                <a:gd name="connsiteY246" fmla="*/ 244654 h 433342"/>
                <a:gd name="connsiteX247" fmla="*/ 40231 w 434608"/>
                <a:gd name="connsiteY247" fmla="*/ 237535 h 433342"/>
                <a:gd name="connsiteX248" fmla="*/ 40153 w 434608"/>
                <a:gd name="connsiteY248" fmla="*/ 237381 h 433342"/>
                <a:gd name="connsiteX249" fmla="*/ 18446 w 434608"/>
                <a:gd name="connsiteY249" fmla="*/ 234376 h 433342"/>
                <a:gd name="connsiteX250" fmla="*/ 9848 w 434608"/>
                <a:gd name="connsiteY250" fmla="*/ 233190 h 433342"/>
                <a:gd name="connsiteX251" fmla="*/ 7721 w 434608"/>
                <a:gd name="connsiteY251" fmla="*/ 224782 h 433342"/>
                <a:gd name="connsiteX252" fmla="*/ 5994 w 434608"/>
                <a:gd name="connsiteY252" fmla="*/ 218037 h 433342"/>
                <a:gd name="connsiteX253" fmla="*/ 2501 w 434608"/>
                <a:gd name="connsiteY253" fmla="*/ 200706 h 433342"/>
                <a:gd name="connsiteX254" fmla="*/ 761 w 434608"/>
                <a:gd name="connsiteY254" fmla="*/ 183116 h 433342"/>
                <a:gd name="connsiteX255" fmla="*/ 425 w 434608"/>
                <a:gd name="connsiteY255" fmla="*/ 176166 h 433342"/>
                <a:gd name="connsiteX256" fmla="*/ 0 w 434608"/>
                <a:gd name="connsiteY256" fmla="*/ 167500 h 433342"/>
                <a:gd name="connsiteX257" fmla="*/ 7863 w 434608"/>
                <a:gd name="connsiteY257" fmla="*/ 163838 h 433342"/>
                <a:gd name="connsiteX258" fmla="*/ 27701 w 434608"/>
                <a:gd name="connsiteY258" fmla="*/ 154617 h 433342"/>
                <a:gd name="connsiteX259" fmla="*/ 27701 w 434608"/>
                <a:gd name="connsiteY259" fmla="*/ 154424 h 433342"/>
                <a:gd name="connsiteX260" fmla="*/ 28990 w 434608"/>
                <a:gd name="connsiteY260" fmla="*/ 146570 h 433342"/>
                <a:gd name="connsiteX261" fmla="*/ 28990 w 434608"/>
                <a:gd name="connsiteY261" fmla="*/ 146390 h 433342"/>
                <a:gd name="connsiteX262" fmla="*/ 13148 w 434608"/>
                <a:gd name="connsiteY262" fmla="*/ 131160 h 433342"/>
                <a:gd name="connsiteX263" fmla="*/ 6909 w 434608"/>
                <a:gd name="connsiteY263" fmla="*/ 125151 h 433342"/>
                <a:gd name="connsiteX264" fmla="*/ 10067 w 434608"/>
                <a:gd name="connsiteY264" fmla="*/ 117066 h 433342"/>
                <a:gd name="connsiteX265" fmla="*/ 12645 w 434608"/>
                <a:gd name="connsiteY265" fmla="*/ 110618 h 433342"/>
                <a:gd name="connsiteX266" fmla="*/ 28990 w 434608"/>
                <a:gd name="connsiteY266" fmla="*/ 79295 h 433342"/>
                <a:gd name="connsiteX267" fmla="*/ 32857 w 434608"/>
                <a:gd name="connsiteY267" fmla="*/ 73479 h 433342"/>
                <a:gd name="connsiteX268" fmla="*/ 37614 w 434608"/>
                <a:gd name="connsiteY268" fmla="*/ 66257 h 433342"/>
                <a:gd name="connsiteX269" fmla="*/ 46096 w 434608"/>
                <a:gd name="connsiteY269" fmla="*/ 67908 h 433342"/>
                <a:gd name="connsiteX270" fmla="*/ 67610 w 434608"/>
                <a:gd name="connsiteY270" fmla="*/ 72125 h 433342"/>
                <a:gd name="connsiteX271" fmla="*/ 67777 w 434608"/>
                <a:gd name="connsiteY271" fmla="*/ 72009 h 433342"/>
                <a:gd name="connsiteX272" fmla="*/ 73397 w 434608"/>
                <a:gd name="connsiteY272" fmla="*/ 66464 h 433342"/>
                <a:gd name="connsiteX273" fmla="*/ 73513 w 434608"/>
                <a:gd name="connsiteY273" fmla="*/ 66335 h 433342"/>
                <a:gd name="connsiteX274" fmla="*/ 69646 w 434608"/>
                <a:gd name="connsiteY274" fmla="*/ 44631 h 433342"/>
                <a:gd name="connsiteX275" fmla="*/ 68125 w 434608"/>
                <a:gd name="connsiteY275" fmla="*/ 36107 h 433342"/>
                <a:gd name="connsiteX276" fmla="*/ 75434 w 434608"/>
                <a:gd name="connsiteY276" fmla="*/ 31465 h 433342"/>
                <a:gd name="connsiteX277" fmla="*/ 81312 w 434608"/>
                <a:gd name="connsiteY277" fmla="*/ 27738 h 433342"/>
                <a:gd name="connsiteX278" fmla="*/ 112958 w 434608"/>
                <a:gd name="connsiteY278" fmla="*/ 11993 h 433342"/>
                <a:gd name="connsiteX279" fmla="*/ 119480 w 434608"/>
                <a:gd name="connsiteY279" fmla="*/ 9530 h 433342"/>
                <a:gd name="connsiteX280" fmla="*/ 127562 w 434608"/>
                <a:gd name="connsiteY280" fmla="*/ 6499 h 433342"/>
                <a:gd name="connsiteX281" fmla="*/ 133440 w 434608"/>
                <a:gd name="connsiteY281" fmla="*/ 12818 h 433342"/>
                <a:gd name="connsiteX282" fmla="*/ 148406 w 434608"/>
                <a:gd name="connsiteY282" fmla="*/ 28654 h 433342"/>
                <a:gd name="connsiteX283" fmla="*/ 148612 w 434608"/>
                <a:gd name="connsiteY283" fmla="*/ 28654 h 433342"/>
                <a:gd name="connsiteX284" fmla="*/ 152544 w 434608"/>
                <a:gd name="connsiteY284" fmla="*/ 28009 h 433342"/>
                <a:gd name="connsiteX285" fmla="*/ 156475 w 434608"/>
                <a:gd name="connsiteY285" fmla="*/ 27480 h 433342"/>
                <a:gd name="connsiteX286" fmla="*/ 156643 w 434608"/>
                <a:gd name="connsiteY286" fmla="*/ 27480 h 433342"/>
                <a:gd name="connsiteX287" fmla="*/ 166207 w 434608"/>
                <a:gd name="connsiteY287" fmla="*/ 7737 h 433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</a:cxnLst>
              <a:rect l="l" t="t" r="r" b="b"/>
              <a:pathLst>
                <a:path w="434608" h="433342">
                  <a:moveTo>
                    <a:pt x="291279" y="214110"/>
                  </a:moveTo>
                  <a:cubicBezTo>
                    <a:pt x="241668" y="221895"/>
                    <a:pt x="207757" y="268440"/>
                    <a:pt x="215539" y="318073"/>
                  </a:cubicBezTo>
                  <a:cubicBezTo>
                    <a:pt x="223321" y="367705"/>
                    <a:pt x="269847" y="401628"/>
                    <a:pt x="319459" y="393843"/>
                  </a:cubicBezTo>
                  <a:cubicBezTo>
                    <a:pt x="368847" y="385710"/>
                    <a:pt x="402571" y="339431"/>
                    <a:pt x="395203" y="289905"/>
                  </a:cubicBezTo>
                  <a:cubicBezTo>
                    <a:pt x="395201" y="289897"/>
                    <a:pt x="395200" y="289888"/>
                    <a:pt x="395199" y="289880"/>
                  </a:cubicBezTo>
                  <a:cubicBezTo>
                    <a:pt x="387417" y="240249"/>
                    <a:pt x="340891" y="206325"/>
                    <a:pt x="291279" y="214110"/>
                  </a:cubicBezTo>
                  <a:close/>
                  <a:moveTo>
                    <a:pt x="307098" y="174606"/>
                  </a:moveTo>
                  <a:cubicBezTo>
                    <a:pt x="308980" y="174632"/>
                    <a:pt x="310862" y="174696"/>
                    <a:pt x="312731" y="174799"/>
                  </a:cubicBezTo>
                  <a:cubicBezTo>
                    <a:pt x="321486" y="175273"/>
                    <a:pt x="330169" y="176651"/>
                    <a:pt x="338640" y="178913"/>
                  </a:cubicBezTo>
                  <a:cubicBezTo>
                    <a:pt x="340458" y="179390"/>
                    <a:pt x="342262" y="179919"/>
                    <a:pt x="344054" y="180486"/>
                  </a:cubicBezTo>
                  <a:lnTo>
                    <a:pt x="345872" y="194607"/>
                  </a:lnTo>
                  <a:cubicBezTo>
                    <a:pt x="346396" y="198888"/>
                    <a:pt x="349049" y="202615"/>
                    <a:pt x="352923" y="204511"/>
                  </a:cubicBezTo>
                  <a:cubicBezTo>
                    <a:pt x="354641" y="205345"/>
                    <a:pt x="356360" y="206226"/>
                    <a:pt x="358079" y="207154"/>
                  </a:cubicBezTo>
                  <a:cubicBezTo>
                    <a:pt x="359928" y="208165"/>
                    <a:pt x="362004" y="208693"/>
                    <a:pt x="364111" y="208689"/>
                  </a:cubicBezTo>
                  <a:cubicBezTo>
                    <a:pt x="366272" y="208686"/>
                    <a:pt x="368399" y="208146"/>
                    <a:pt x="370299" y="207116"/>
                  </a:cubicBezTo>
                  <a:lnTo>
                    <a:pt x="382725" y="200371"/>
                  </a:lnTo>
                  <a:cubicBezTo>
                    <a:pt x="384233" y="201506"/>
                    <a:pt x="385728" y="202667"/>
                    <a:pt x="387172" y="203840"/>
                  </a:cubicBezTo>
                  <a:cubicBezTo>
                    <a:pt x="394004" y="209414"/>
                    <a:pt x="400253" y="215665"/>
                    <a:pt x="405824" y="222500"/>
                  </a:cubicBezTo>
                  <a:cubicBezTo>
                    <a:pt x="407001" y="223953"/>
                    <a:pt x="408154" y="225436"/>
                    <a:pt x="409279" y="226949"/>
                  </a:cubicBezTo>
                  <a:lnTo>
                    <a:pt x="402486" y="239380"/>
                  </a:lnTo>
                  <a:cubicBezTo>
                    <a:pt x="400391" y="243162"/>
                    <a:pt x="400351" y="247749"/>
                    <a:pt x="402383" y="251566"/>
                  </a:cubicBezTo>
                  <a:cubicBezTo>
                    <a:pt x="403242" y="253234"/>
                    <a:pt x="404101" y="254954"/>
                    <a:pt x="404961" y="256725"/>
                  </a:cubicBezTo>
                  <a:cubicBezTo>
                    <a:pt x="406840" y="260627"/>
                    <a:pt x="410565" y="263310"/>
                    <a:pt x="414860" y="263856"/>
                  </a:cubicBezTo>
                  <a:lnTo>
                    <a:pt x="428808" y="265597"/>
                  </a:lnTo>
                  <a:cubicBezTo>
                    <a:pt x="429362" y="267389"/>
                    <a:pt x="429878" y="269195"/>
                    <a:pt x="430342" y="271026"/>
                  </a:cubicBezTo>
                  <a:cubicBezTo>
                    <a:pt x="431455" y="275276"/>
                    <a:pt x="432350" y="279579"/>
                    <a:pt x="433023" y="283921"/>
                  </a:cubicBezTo>
                  <a:cubicBezTo>
                    <a:pt x="433702" y="288280"/>
                    <a:pt x="434166" y="292639"/>
                    <a:pt x="434415" y="296997"/>
                  </a:cubicBezTo>
                  <a:cubicBezTo>
                    <a:pt x="434518" y="298867"/>
                    <a:pt x="434608" y="300750"/>
                    <a:pt x="434608" y="302620"/>
                  </a:cubicBezTo>
                  <a:lnTo>
                    <a:pt x="421821" y="308681"/>
                  </a:lnTo>
                  <a:cubicBezTo>
                    <a:pt x="417901" y="310513"/>
                    <a:pt x="415175" y="314206"/>
                    <a:pt x="414577" y="318494"/>
                  </a:cubicBezTo>
                  <a:cubicBezTo>
                    <a:pt x="414319" y="320390"/>
                    <a:pt x="414023" y="322350"/>
                    <a:pt x="413662" y="324259"/>
                  </a:cubicBezTo>
                  <a:cubicBezTo>
                    <a:pt x="412899" y="328533"/>
                    <a:pt x="414354" y="332904"/>
                    <a:pt x="417529" y="335864"/>
                  </a:cubicBezTo>
                  <a:lnTo>
                    <a:pt x="427841" y="345626"/>
                  </a:lnTo>
                  <a:cubicBezTo>
                    <a:pt x="427184" y="347406"/>
                    <a:pt x="426591" y="349173"/>
                    <a:pt x="425895" y="350926"/>
                  </a:cubicBezTo>
                  <a:cubicBezTo>
                    <a:pt x="422700" y="359097"/>
                    <a:pt x="418684" y="366922"/>
                    <a:pt x="413907" y="374280"/>
                  </a:cubicBezTo>
                  <a:cubicBezTo>
                    <a:pt x="412884" y="375854"/>
                    <a:pt x="411822" y="377405"/>
                    <a:pt x="410723" y="378936"/>
                  </a:cubicBezTo>
                  <a:lnTo>
                    <a:pt x="396788" y="376395"/>
                  </a:lnTo>
                  <a:cubicBezTo>
                    <a:pt x="395989" y="376242"/>
                    <a:pt x="395178" y="376164"/>
                    <a:pt x="394365" y="376163"/>
                  </a:cubicBezTo>
                  <a:cubicBezTo>
                    <a:pt x="390883" y="376150"/>
                    <a:pt x="387548" y="377572"/>
                    <a:pt x="385148" y="380096"/>
                  </a:cubicBezTo>
                  <a:cubicBezTo>
                    <a:pt x="383817" y="381498"/>
                    <a:pt x="382454" y="382860"/>
                    <a:pt x="381062" y="384184"/>
                  </a:cubicBezTo>
                  <a:cubicBezTo>
                    <a:pt x="377947" y="387178"/>
                    <a:pt x="376560" y="391546"/>
                    <a:pt x="377375" y="395790"/>
                  </a:cubicBezTo>
                  <a:lnTo>
                    <a:pt x="379954" y="409795"/>
                  </a:lnTo>
                  <a:cubicBezTo>
                    <a:pt x="378416" y="410878"/>
                    <a:pt x="376860" y="411931"/>
                    <a:pt x="375287" y="412954"/>
                  </a:cubicBezTo>
                  <a:cubicBezTo>
                    <a:pt x="367910" y="417693"/>
                    <a:pt x="360066" y="421660"/>
                    <a:pt x="351879" y="424792"/>
                  </a:cubicBezTo>
                  <a:cubicBezTo>
                    <a:pt x="350125" y="425411"/>
                    <a:pt x="348359" y="426107"/>
                    <a:pt x="346568" y="426701"/>
                  </a:cubicBezTo>
                  <a:lnTo>
                    <a:pt x="336874" y="416384"/>
                  </a:lnTo>
                  <a:cubicBezTo>
                    <a:pt x="333827" y="413183"/>
                    <a:pt x="329376" y="411730"/>
                    <a:pt x="325028" y="412515"/>
                  </a:cubicBezTo>
                  <a:cubicBezTo>
                    <a:pt x="324190" y="412670"/>
                    <a:pt x="323275" y="412812"/>
                    <a:pt x="322450" y="412954"/>
                  </a:cubicBezTo>
                  <a:cubicBezTo>
                    <a:pt x="321625" y="413096"/>
                    <a:pt x="320748" y="413225"/>
                    <a:pt x="319872" y="413328"/>
                  </a:cubicBezTo>
                  <a:cubicBezTo>
                    <a:pt x="315489" y="413872"/>
                    <a:pt x="311683" y="416607"/>
                    <a:pt x="309766" y="420588"/>
                  </a:cubicBezTo>
                  <a:lnTo>
                    <a:pt x="303682" y="433342"/>
                  </a:lnTo>
                  <a:cubicBezTo>
                    <a:pt x="301800" y="433329"/>
                    <a:pt x="299918" y="433251"/>
                    <a:pt x="298049" y="433148"/>
                  </a:cubicBezTo>
                  <a:cubicBezTo>
                    <a:pt x="289295" y="432674"/>
                    <a:pt x="280612" y="431299"/>
                    <a:pt x="272139" y="429048"/>
                  </a:cubicBezTo>
                  <a:cubicBezTo>
                    <a:pt x="270326" y="428557"/>
                    <a:pt x="268521" y="428029"/>
                    <a:pt x="266725" y="427461"/>
                  </a:cubicBezTo>
                  <a:lnTo>
                    <a:pt x="264908" y="413341"/>
                  </a:lnTo>
                  <a:cubicBezTo>
                    <a:pt x="264383" y="409059"/>
                    <a:pt x="261730" y="405333"/>
                    <a:pt x="257857" y="403437"/>
                  </a:cubicBezTo>
                  <a:cubicBezTo>
                    <a:pt x="256139" y="402603"/>
                    <a:pt x="254419" y="401722"/>
                    <a:pt x="252701" y="400793"/>
                  </a:cubicBezTo>
                  <a:cubicBezTo>
                    <a:pt x="250851" y="399782"/>
                    <a:pt x="248776" y="399255"/>
                    <a:pt x="246668" y="399259"/>
                  </a:cubicBezTo>
                  <a:cubicBezTo>
                    <a:pt x="244508" y="399256"/>
                    <a:pt x="242381" y="399793"/>
                    <a:pt x="240481" y="400819"/>
                  </a:cubicBezTo>
                  <a:lnTo>
                    <a:pt x="228029" y="407589"/>
                  </a:lnTo>
                  <a:cubicBezTo>
                    <a:pt x="226508" y="406455"/>
                    <a:pt x="225025" y="405307"/>
                    <a:pt x="223569" y="404120"/>
                  </a:cubicBezTo>
                  <a:cubicBezTo>
                    <a:pt x="216772" y="398572"/>
                    <a:pt x="210553" y="392351"/>
                    <a:pt x="205007" y="385551"/>
                  </a:cubicBezTo>
                  <a:cubicBezTo>
                    <a:pt x="203830" y="384090"/>
                    <a:pt x="202677" y="382611"/>
                    <a:pt x="201552" y="381115"/>
                  </a:cubicBezTo>
                  <a:lnTo>
                    <a:pt x="208384" y="368593"/>
                  </a:lnTo>
                  <a:cubicBezTo>
                    <a:pt x="210480" y="364815"/>
                    <a:pt x="210519" y="360233"/>
                    <a:pt x="208487" y="356420"/>
                  </a:cubicBezTo>
                  <a:cubicBezTo>
                    <a:pt x="207623" y="354756"/>
                    <a:pt x="206734" y="353016"/>
                    <a:pt x="205909" y="351262"/>
                  </a:cubicBezTo>
                  <a:cubicBezTo>
                    <a:pt x="204032" y="347357"/>
                    <a:pt x="200306" y="344668"/>
                    <a:pt x="196009" y="344118"/>
                  </a:cubicBezTo>
                  <a:lnTo>
                    <a:pt x="181985" y="342274"/>
                  </a:lnTo>
                  <a:cubicBezTo>
                    <a:pt x="181434" y="340485"/>
                    <a:pt x="180919" y="338680"/>
                    <a:pt x="180438" y="336857"/>
                  </a:cubicBezTo>
                  <a:cubicBezTo>
                    <a:pt x="179342" y="332615"/>
                    <a:pt x="178440" y="328334"/>
                    <a:pt x="177757" y="323962"/>
                  </a:cubicBezTo>
                  <a:cubicBezTo>
                    <a:pt x="177073" y="319590"/>
                    <a:pt x="176622" y="315232"/>
                    <a:pt x="176377" y="310886"/>
                  </a:cubicBezTo>
                  <a:cubicBezTo>
                    <a:pt x="176274" y="309003"/>
                    <a:pt x="176184" y="307120"/>
                    <a:pt x="176184" y="305251"/>
                  </a:cubicBezTo>
                  <a:lnTo>
                    <a:pt x="188971" y="299190"/>
                  </a:lnTo>
                  <a:cubicBezTo>
                    <a:pt x="192895" y="297361"/>
                    <a:pt x="195623" y="293665"/>
                    <a:pt x="196215" y="289376"/>
                  </a:cubicBezTo>
                  <a:cubicBezTo>
                    <a:pt x="196473" y="287481"/>
                    <a:pt x="196770" y="285520"/>
                    <a:pt x="197131" y="283612"/>
                  </a:cubicBezTo>
                  <a:cubicBezTo>
                    <a:pt x="197891" y="279337"/>
                    <a:pt x="196436" y="274968"/>
                    <a:pt x="193264" y="272006"/>
                  </a:cubicBezTo>
                  <a:lnTo>
                    <a:pt x="182951" y="262244"/>
                  </a:lnTo>
                  <a:cubicBezTo>
                    <a:pt x="183609" y="260464"/>
                    <a:pt x="184202" y="258711"/>
                    <a:pt x="184898" y="256957"/>
                  </a:cubicBezTo>
                  <a:cubicBezTo>
                    <a:pt x="188089" y="248785"/>
                    <a:pt x="192106" y="240960"/>
                    <a:pt x="196886" y="233603"/>
                  </a:cubicBezTo>
                  <a:cubicBezTo>
                    <a:pt x="197904" y="232030"/>
                    <a:pt x="198974" y="230469"/>
                    <a:pt x="200070" y="228935"/>
                  </a:cubicBezTo>
                  <a:lnTo>
                    <a:pt x="213991" y="231514"/>
                  </a:lnTo>
                  <a:cubicBezTo>
                    <a:pt x="214790" y="231658"/>
                    <a:pt x="215602" y="231731"/>
                    <a:pt x="216415" y="231733"/>
                  </a:cubicBezTo>
                  <a:cubicBezTo>
                    <a:pt x="219886" y="231756"/>
                    <a:pt x="223215" y="230359"/>
                    <a:pt x="225631" y="227865"/>
                  </a:cubicBezTo>
                  <a:cubicBezTo>
                    <a:pt x="226963" y="226455"/>
                    <a:pt x="228325" y="225088"/>
                    <a:pt x="229717" y="223764"/>
                  </a:cubicBezTo>
                  <a:cubicBezTo>
                    <a:pt x="232828" y="220767"/>
                    <a:pt x="234215" y="216402"/>
                    <a:pt x="233404" y="212158"/>
                  </a:cubicBezTo>
                  <a:lnTo>
                    <a:pt x="230826" y="198166"/>
                  </a:lnTo>
                  <a:cubicBezTo>
                    <a:pt x="232364" y="197066"/>
                    <a:pt x="233920" y="196013"/>
                    <a:pt x="235492" y="195007"/>
                  </a:cubicBezTo>
                  <a:cubicBezTo>
                    <a:pt x="242868" y="190264"/>
                    <a:pt x="250713" y="186293"/>
                    <a:pt x="258901" y="183156"/>
                  </a:cubicBezTo>
                  <a:cubicBezTo>
                    <a:pt x="260654" y="182537"/>
                    <a:pt x="262420" y="181840"/>
                    <a:pt x="264212" y="181247"/>
                  </a:cubicBezTo>
                  <a:lnTo>
                    <a:pt x="273905" y="191564"/>
                  </a:lnTo>
                  <a:cubicBezTo>
                    <a:pt x="276937" y="194789"/>
                    <a:pt x="281402" y="196247"/>
                    <a:pt x="285751" y="195432"/>
                  </a:cubicBezTo>
                  <a:cubicBezTo>
                    <a:pt x="286589" y="195278"/>
                    <a:pt x="287504" y="195136"/>
                    <a:pt x="288329" y="194994"/>
                  </a:cubicBezTo>
                  <a:cubicBezTo>
                    <a:pt x="289154" y="194852"/>
                    <a:pt x="290031" y="194736"/>
                    <a:pt x="290907" y="194620"/>
                  </a:cubicBezTo>
                  <a:cubicBezTo>
                    <a:pt x="295288" y="194076"/>
                    <a:pt x="299092" y="191347"/>
                    <a:pt x="301013" y="187373"/>
                  </a:cubicBezTo>
                  <a:close/>
                  <a:moveTo>
                    <a:pt x="174624" y="65265"/>
                  </a:moveTo>
                  <a:cubicBezTo>
                    <a:pt x="177156" y="65270"/>
                    <a:pt x="179686" y="65363"/>
                    <a:pt x="182211" y="65542"/>
                  </a:cubicBezTo>
                  <a:cubicBezTo>
                    <a:pt x="242633" y="69852"/>
                    <a:pt x="288124" y="122347"/>
                    <a:pt x="283818" y="182795"/>
                  </a:cubicBezTo>
                  <a:lnTo>
                    <a:pt x="283392" y="182872"/>
                  </a:lnTo>
                  <a:lnTo>
                    <a:pt x="283238" y="182872"/>
                  </a:lnTo>
                  <a:lnTo>
                    <a:pt x="273570" y="172556"/>
                  </a:lnTo>
                  <a:lnTo>
                    <a:pt x="270992" y="169886"/>
                  </a:lnTo>
                  <a:cubicBezTo>
                    <a:pt x="270824" y="166792"/>
                    <a:pt x="270515" y="163671"/>
                    <a:pt x="270051" y="160563"/>
                  </a:cubicBezTo>
                  <a:cubicBezTo>
                    <a:pt x="262964" y="113269"/>
                    <a:pt x="222389" y="78257"/>
                    <a:pt x="174586" y="78186"/>
                  </a:cubicBezTo>
                  <a:cubicBezTo>
                    <a:pt x="169736" y="78186"/>
                    <a:pt x="164893" y="78549"/>
                    <a:pt x="160097" y="79270"/>
                  </a:cubicBezTo>
                  <a:cubicBezTo>
                    <a:pt x="112961" y="86339"/>
                    <a:pt x="78009" y="126720"/>
                    <a:pt x="77755" y="174401"/>
                  </a:cubicBezTo>
                  <a:cubicBezTo>
                    <a:pt x="77470" y="227816"/>
                    <a:pt x="120522" y="271347"/>
                    <a:pt x="173915" y="271632"/>
                  </a:cubicBezTo>
                  <a:lnTo>
                    <a:pt x="174018" y="271722"/>
                  </a:lnTo>
                  <a:lnTo>
                    <a:pt x="184331" y="281484"/>
                  </a:lnTo>
                  <a:cubicBezTo>
                    <a:pt x="184163" y="282297"/>
                    <a:pt x="184021" y="283174"/>
                    <a:pt x="183879" y="284063"/>
                  </a:cubicBezTo>
                  <a:cubicBezTo>
                    <a:pt x="180683" y="284334"/>
                    <a:pt x="177499" y="284489"/>
                    <a:pt x="174341" y="284489"/>
                  </a:cubicBezTo>
                  <a:cubicBezTo>
                    <a:pt x="113829" y="284410"/>
                    <a:pt x="64836" y="235272"/>
                    <a:pt x="64915" y="174735"/>
                  </a:cubicBezTo>
                  <a:cubicBezTo>
                    <a:pt x="64994" y="114198"/>
                    <a:pt x="114112" y="65186"/>
                    <a:pt x="174624" y="65265"/>
                  </a:cubicBezTo>
                  <a:close/>
                  <a:moveTo>
                    <a:pt x="174134" y="51080"/>
                  </a:moveTo>
                  <a:cubicBezTo>
                    <a:pt x="193468" y="51008"/>
                    <a:pt x="212543" y="55538"/>
                    <a:pt x="229781" y="64298"/>
                  </a:cubicBezTo>
                  <a:cubicBezTo>
                    <a:pt x="268561" y="84020"/>
                    <a:pt x="294064" y="122744"/>
                    <a:pt x="296875" y="166172"/>
                  </a:cubicBezTo>
                  <a:lnTo>
                    <a:pt x="295522" y="168984"/>
                  </a:lnTo>
                  <a:lnTo>
                    <a:pt x="290637" y="179300"/>
                  </a:lnTo>
                  <a:cubicBezTo>
                    <a:pt x="290709" y="177644"/>
                    <a:pt x="290746" y="175987"/>
                    <a:pt x="290747" y="174330"/>
                  </a:cubicBezTo>
                  <a:cubicBezTo>
                    <a:pt x="290816" y="109883"/>
                    <a:pt x="238649" y="57583"/>
                    <a:pt x="174228" y="57515"/>
                  </a:cubicBezTo>
                  <a:cubicBezTo>
                    <a:pt x="109807" y="57446"/>
                    <a:pt x="57527" y="109636"/>
                    <a:pt x="57459" y="174082"/>
                  </a:cubicBezTo>
                  <a:cubicBezTo>
                    <a:pt x="57391" y="238529"/>
                    <a:pt x="109559" y="290829"/>
                    <a:pt x="173979" y="290898"/>
                  </a:cubicBezTo>
                  <a:lnTo>
                    <a:pt x="176416" y="290898"/>
                  </a:lnTo>
                  <a:lnTo>
                    <a:pt x="170615" y="293645"/>
                  </a:lnTo>
                  <a:lnTo>
                    <a:pt x="163590" y="296972"/>
                  </a:lnTo>
                  <a:cubicBezTo>
                    <a:pt x="147869" y="295619"/>
                    <a:pt x="132555" y="291258"/>
                    <a:pt x="118480" y="284124"/>
                  </a:cubicBezTo>
                  <a:cubicBezTo>
                    <a:pt x="57799" y="253371"/>
                    <a:pt x="33530" y="179229"/>
                    <a:pt x="64270" y="118523"/>
                  </a:cubicBezTo>
                  <a:cubicBezTo>
                    <a:pt x="85256" y="77121"/>
                    <a:pt x="127733" y="51045"/>
                    <a:pt x="174134" y="51080"/>
                  </a:cubicBezTo>
                  <a:close/>
                  <a:moveTo>
                    <a:pt x="169984" y="0"/>
                  </a:moveTo>
                  <a:lnTo>
                    <a:pt x="178595" y="529"/>
                  </a:lnTo>
                  <a:lnTo>
                    <a:pt x="185556" y="954"/>
                  </a:lnTo>
                  <a:cubicBezTo>
                    <a:pt x="197345" y="1677"/>
                    <a:pt x="209029" y="3609"/>
                    <a:pt x="220424" y="6719"/>
                  </a:cubicBezTo>
                  <a:lnTo>
                    <a:pt x="227140" y="8563"/>
                  </a:lnTo>
                  <a:lnTo>
                    <a:pt x="235480" y="10845"/>
                  </a:lnTo>
                  <a:lnTo>
                    <a:pt x="236524" y="19434"/>
                  </a:lnTo>
                  <a:lnTo>
                    <a:pt x="239179" y="41356"/>
                  </a:lnTo>
                  <a:cubicBezTo>
                    <a:pt x="239223" y="41413"/>
                    <a:pt x="239281" y="41458"/>
                    <a:pt x="239347" y="41485"/>
                  </a:cubicBezTo>
                  <a:cubicBezTo>
                    <a:pt x="241693" y="42633"/>
                    <a:pt x="244052" y="43845"/>
                    <a:pt x="246333" y="45134"/>
                  </a:cubicBezTo>
                  <a:cubicBezTo>
                    <a:pt x="246488" y="45212"/>
                    <a:pt x="246488" y="45212"/>
                    <a:pt x="246488" y="45212"/>
                  </a:cubicBezTo>
                  <a:lnTo>
                    <a:pt x="265823" y="34895"/>
                  </a:lnTo>
                  <a:lnTo>
                    <a:pt x="273442" y="30820"/>
                  </a:lnTo>
                  <a:lnTo>
                    <a:pt x="280106" y="36327"/>
                  </a:lnTo>
                  <a:lnTo>
                    <a:pt x="285481" y="40763"/>
                  </a:lnTo>
                  <a:cubicBezTo>
                    <a:pt x="294600" y="48305"/>
                    <a:pt x="302931" y="56752"/>
                    <a:pt x="310346" y="65973"/>
                  </a:cubicBezTo>
                  <a:lnTo>
                    <a:pt x="314716" y="71402"/>
                  </a:lnTo>
                  <a:lnTo>
                    <a:pt x="320143" y="78160"/>
                  </a:lnTo>
                  <a:lnTo>
                    <a:pt x="315928" y="85729"/>
                  </a:lnTo>
                  <a:lnTo>
                    <a:pt x="305281" y="104905"/>
                  </a:lnTo>
                  <a:cubicBezTo>
                    <a:pt x="305261" y="104972"/>
                    <a:pt x="305261" y="105044"/>
                    <a:pt x="305281" y="105111"/>
                  </a:cubicBezTo>
                  <a:cubicBezTo>
                    <a:pt x="306531" y="107433"/>
                    <a:pt x="307730" y="109831"/>
                    <a:pt x="308851" y="112230"/>
                  </a:cubicBezTo>
                  <a:cubicBezTo>
                    <a:pt x="308928" y="112320"/>
                    <a:pt x="308928" y="112384"/>
                    <a:pt x="308928" y="112384"/>
                  </a:cubicBezTo>
                  <a:lnTo>
                    <a:pt x="330649" y="115389"/>
                  </a:lnTo>
                  <a:lnTo>
                    <a:pt x="339234" y="116575"/>
                  </a:lnTo>
                  <a:lnTo>
                    <a:pt x="341373" y="124983"/>
                  </a:lnTo>
                  <a:lnTo>
                    <a:pt x="343088" y="131728"/>
                  </a:lnTo>
                  <a:cubicBezTo>
                    <a:pt x="344531" y="137453"/>
                    <a:pt x="345717" y="143269"/>
                    <a:pt x="346581" y="149059"/>
                  </a:cubicBezTo>
                  <a:cubicBezTo>
                    <a:pt x="347445" y="154849"/>
                    <a:pt x="348038" y="160768"/>
                    <a:pt x="348321" y="166649"/>
                  </a:cubicBezTo>
                  <a:lnTo>
                    <a:pt x="348399" y="168364"/>
                  </a:lnTo>
                  <a:lnTo>
                    <a:pt x="347947" y="168222"/>
                  </a:lnTo>
                  <a:cubicBezTo>
                    <a:pt x="345846" y="167577"/>
                    <a:pt x="343913" y="166997"/>
                    <a:pt x="341979" y="166481"/>
                  </a:cubicBezTo>
                  <a:cubicBezTo>
                    <a:pt x="339775" y="165901"/>
                    <a:pt x="337545" y="165359"/>
                    <a:pt x="335302" y="164882"/>
                  </a:cubicBezTo>
                  <a:cubicBezTo>
                    <a:pt x="335006" y="160253"/>
                    <a:pt x="334529" y="155610"/>
                    <a:pt x="333832" y="150968"/>
                  </a:cubicBezTo>
                  <a:cubicBezTo>
                    <a:pt x="333008" y="145526"/>
                    <a:pt x="331925" y="140170"/>
                    <a:pt x="330584" y="134900"/>
                  </a:cubicBezTo>
                  <a:lnTo>
                    <a:pt x="328960" y="128091"/>
                  </a:lnTo>
                  <a:lnTo>
                    <a:pt x="307240" y="125087"/>
                  </a:lnTo>
                  <a:cubicBezTo>
                    <a:pt x="302860" y="124455"/>
                    <a:pt x="299098" y="121643"/>
                    <a:pt x="297250" y="117620"/>
                  </a:cubicBezTo>
                  <a:cubicBezTo>
                    <a:pt x="296235" y="115445"/>
                    <a:pt x="295153" y="113296"/>
                    <a:pt x="294002" y="111172"/>
                  </a:cubicBezTo>
                  <a:cubicBezTo>
                    <a:pt x="291881" y="107282"/>
                    <a:pt x="291881" y="102580"/>
                    <a:pt x="294002" y="98689"/>
                  </a:cubicBezTo>
                  <a:lnTo>
                    <a:pt x="304675" y="79449"/>
                  </a:lnTo>
                  <a:lnTo>
                    <a:pt x="300318" y="74059"/>
                  </a:lnTo>
                  <a:cubicBezTo>
                    <a:pt x="293468" y="65534"/>
                    <a:pt x="285767" y="57731"/>
                    <a:pt x="277334" y="50770"/>
                  </a:cubicBezTo>
                  <a:lnTo>
                    <a:pt x="271959" y="46334"/>
                  </a:lnTo>
                  <a:lnTo>
                    <a:pt x="252624" y="56650"/>
                  </a:lnTo>
                  <a:cubicBezTo>
                    <a:pt x="250766" y="57638"/>
                    <a:pt x="248695" y="58156"/>
                    <a:pt x="246591" y="58159"/>
                  </a:cubicBezTo>
                  <a:cubicBezTo>
                    <a:pt x="244334" y="58158"/>
                    <a:pt x="242114" y="57575"/>
                    <a:pt x="240146" y="56469"/>
                  </a:cubicBezTo>
                  <a:cubicBezTo>
                    <a:pt x="238015" y="55309"/>
                    <a:pt x="235866" y="54200"/>
                    <a:pt x="233701" y="53142"/>
                  </a:cubicBezTo>
                  <a:cubicBezTo>
                    <a:pt x="229719" y="51229"/>
                    <a:pt x="226979" y="47428"/>
                    <a:pt x="226418" y="43045"/>
                  </a:cubicBezTo>
                  <a:lnTo>
                    <a:pt x="223749" y="21123"/>
                  </a:lnTo>
                  <a:lnTo>
                    <a:pt x="217034" y="19292"/>
                  </a:lnTo>
                  <a:cubicBezTo>
                    <a:pt x="206504" y="16411"/>
                    <a:pt x="195704" y="14622"/>
                    <a:pt x="184808" y="13953"/>
                  </a:cubicBezTo>
                  <a:lnTo>
                    <a:pt x="177847" y="13527"/>
                  </a:lnTo>
                  <a:lnTo>
                    <a:pt x="168270" y="33283"/>
                  </a:lnTo>
                  <a:cubicBezTo>
                    <a:pt x="166313" y="37256"/>
                    <a:pt x="162472" y="39962"/>
                    <a:pt x="158074" y="40466"/>
                  </a:cubicBezTo>
                  <a:cubicBezTo>
                    <a:pt x="156875" y="40621"/>
                    <a:pt x="155676" y="40776"/>
                    <a:pt x="154477" y="40956"/>
                  </a:cubicBezTo>
                  <a:cubicBezTo>
                    <a:pt x="153278" y="41137"/>
                    <a:pt x="152080" y="41330"/>
                    <a:pt x="150894" y="41549"/>
                  </a:cubicBezTo>
                  <a:cubicBezTo>
                    <a:pt x="150115" y="41689"/>
                    <a:pt x="149326" y="41757"/>
                    <a:pt x="148535" y="41756"/>
                  </a:cubicBezTo>
                  <a:cubicBezTo>
                    <a:pt x="144938" y="41770"/>
                    <a:pt x="141498" y="40289"/>
                    <a:pt x="139035" y="37668"/>
                  </a:cubicBezTo>
                  <a:lnTo>
                    <a:pt x="124082" y="21600"/>
                  </a:lnTo>
                  <a:lnTo>
                    <a:pt x="117559" y="24050"/>
                  </a:lnTo>
                  <a:cubicBezTo>
                    <a:pt x="107331" y="27888"/>
                    <a:pt x="97525" y="32771"/>
                    <a:pt x="88298" y="38622"/>
                  </a:cubicBezTo>
                  <a:lnTo>
                    <a:pt x="82420" y="42349"/>
                  </a:lnTo>
                  <a:lnTo>
                    <a:pt x="86288" y="64078"/>
                  </a:lnTo>
                  <a:cubicBezTo>
                    <a:pt x="87042" y="68434"/>
                    <a:pt x="85537" y="72876"/>
                    <a:pt x="82292" y="75877"/>
                  </a:cubicBezTo>
                  <a:cubicBezTo>
                    <a:pt x="80522" y="77528"/>
                    <a:pt x="78802" y="79213"/>
                    <a:pt x="77135" y="80932"/>
                  </a:cubicBezTo>
                  <a:cubicBezTo>
                    <a:pt x="74108" y="84181"/>
                    <a:pt x="69623" y="85643"/>
                    <a:pt x="65263" y="84801"/>
                  </a:cubicBezTo>
                  <a:lnTo>
                    <a:pt x="43685" y="80584"/>
                  </a:lnTo>
                  <a:lnTo>
                    <a:pt x="39818" y="86400"/>
                  </a:lnTo>
                  <a:cubicBezTo>
                    <a:pt x="33802" y="95535"/>
                    <a:pt x="28728" y="105256"/>
                    <a:pt x="24672" y="115415"/>
                  </a:cubicBezTo>
                  <a:lnTo>
                    <a:pt x="22094" y="121863"/>
                  </a:lnTo>
                  <a:lnTo>
                    <a:pt x="37936" y="137105"/>
                  </a:lnTo>
                  <a:cubicBezTo>
                    <a:pt x="41112" y="140201"/>
                    <a:pt x="42501" y="144698"/>
                    <a:pt x="41623" y="149046"/>
                  </a:cubicBezTo>
                  <a:cubicBezTo>
                    <a:pt x="41159" y="151419"/>
                    <a:pt x="40759" y="153805"/>
                    <a:pt x="40424" y="156203"/>
                  </a:cubicBezTo>
                  <a:cubicBezTo>
                    <a:pt x="39840" y="160589"/>
                    <a:pt x="37074" y="164380"/>
                    <a:pt x="33076" y="166275"/>
                  </a:cubicBezTo>
                  <a:lnTo>
                    <a:pt x="13187" y="175534"/>
                  </a:lnTo>
                  <a:lnTo>
                    <a:pt x="13522" y="182485"/>
                  </a:lnTo>
                  <a:cubicBezTo>
                    <a:pt x="13771" y="187910"/>
                    <a:pt x="14308" y="193343"/>
                    <a:pt x="15133" y="198784"/>
                  </a:cubicBezTo>
                  <a:cubicBezTo>
                    <a:pt x="15958" y="204226"/>
                    <a:pt x="17041" y="209582"/>
                    <a:pt x="18382" y="214852"/>
                  </a:cubicBezTo>
                  <a:lnTo>
                    <a:pt x="20122" y="221622"/>
                  </a:lnTo>
                  <a:lnTo>
                    <a:pt x="41855" y="224627"/>
                  </a:lnTo>
                  <a:cubicBezTo>
                    <a:pt x="46231" y="225264"/>
                    <a:pt x="49986" y="228074"/>
                    <a:pt x="51832" y="232094"/>
                  </a:cubicBezTo>
                  <a:cubicBezTo>
                    <a:pt x="52846" y="234269"/>
                    <a:pt x="53929" y="236417"/>
                    <a:pt x="55080" y="238541"/>
                  </a:cubicBezTo>
                  <a:cubicBezTo>
                    <a:pt x="57201" y="242432"/>
                    <a:pt x="57201" y="247134"/>
                    <a:pt x="55080" y="251024"/>
                  </a:cubicBezTo>
                  <a:lnTo>
                    <a:pt x="44407" y="270264"/>
                  </a:lnTo>
                  <a:lnTo>
                    <a:pt x="48764" y="275680"/>
                  </a:lnTo>
                  <a:cubicBezTo>
                    <a:pt x="55614" y="284206"/>
                    <a:pt x="63314" y="292009"/>
                    <a:pt x="71747" y="298970"/>
                  </a:cubicBezTo>
                  <a:lnTo>
                    <a:pt x="77123" y="303406"/>
                  </a:lnTo>
                  <a:lnTo>
                    <a:pt x="96458" y="293089"/>
                  </a:lnTo>
                  <a:cubicBezTo>
                    <a:pt x="98315" y="292102"/>
                    <a:pt x="100387" y="291583"/>
                    <a:pt x="102491" y="291581"/>
                  </a:cubicBezTo>
                  <a:cubicBezTo>
                    <a:pt x="104748" y="291582"/>
                    <a:pt x="106967" y="292165"/>
                    <a:pt x="108936" y="293270"/>
                  </a:cubicBezTo>
                  <a:cubicBezTo>
                    <a:pt x="111067" y="294431"/>
                    <a:pt x="113215" y="295540"/>
                    <a:pt x="115381" y="296597"/>
                  </a:cubicBezTo>
                  <a:cubicBezTo>
                    <a:pt x="119363" y="298511"/>
                    <a:pt x="122103" y="302311"/>
                    <a:pt x="122664" y="306694"/>
                  </a:cubicBezTo>
                  <a:lnTo>
                    <a:pt x="125332" y="328617"/>
                  </a:lnTo>
                  <a:lnTo>
                    <a:pt x="132048" y="330448"/>
                  </a:lnTo>
                  <a:cubicBezTo>
                    <a:pt x="142578" y="333329"/>
                    <a:pt x="153378" y="335117"/>
                    <a:pt x="164274" y="335786"/>
                  </a:cubicBezTo>
                  <a:lnTo>
                    <a:pt x="166852" y="335954"/>
                  </a:lnTo>
                  <a:cubicBezTo>
                    <a:pt x="167174" y="337347"/>
                    <a:pt x="167509" y="338752"/>
                    <a:pt x="167870" y="340132"/>
                  </a:cubicBezTo>
                  <a:cubicBezTo>
                    <a:pt x="168386" y="342105"/>
                    <a:pt x="168953" y="344117"/>
                    <a:pt x="169559" y="346090"/>
                  </a:cubicBezTo>
                  <a:lnTo>
                    <a:pt x="170448" y="349159"/>
                  </a:lnTo>
                  <a:lnTo>
                    <a:pt x="170371" y="349159"/>
                  </a:lnTo>
                  <a:lnTo>
                    <a:pt x="163410" y="348734"/>
                  </a:lnTo>
                  <a:cubicBezTo>
                    <a:pt x="151621" y="348010"/>
                    <a:pt x="139937" y="346078"/>
                    <a:pt x="128542" y="342969"/>
                  </a:cubicBezTo>
                  <a:lnTo>
                    <a:pt x="121826" y="341125"/>
                  </a:lnTo>
                  <a:lnTo>
                    <a:pt x="113486" y="338843"/>
                  </a:lnTo>
                  <a:lnTo>
                    <a:pt x="112442" y="330241"/>
                  </a:lnTo>
                  <a:lnTo>
                    <a:pt x="109787" y="308396"/>
                  </a:lnTo>
                  <a:cubicBezTo>
                    <a:pt x="109787" y="308383"/>
                    <a:pt x="109748" y="308332"/>
                    <a:pt x="109619" y="308267"/>
                  </a:cubicBezTo>
                  <a:cubicBezTo>
                    <a:pt x="107273" y="307120"/>
                    <a:pt x="104914" y="305908"/>
                    <a:pt x="102632" y="304618"/>
                  </a:cubicBezTo>
                  <a:cubicBezTo>
                    <a:pt x="102478" y="304541"/>
                    <a:pt x="102478" y="304541"/>
                    <a:pt x="102478" y="304541"/>
                  </a:cubicBezTo>
                  <a:lnTo>
                    <a:pt x="83142" y="314857"/>
                  </a:lnTo>
                  <a:lnTo>
                    <a:pt x="75524" y="318932"/>
                  </a:lnTo>
                  <a:lnTo>
                    <a:pt x="68860" y="313426"/>
                  </a:lnTo>
                  <a:lnTo>
                    <a:pt x="63485" y="308990"/>
                  </a:lnTo>
                  <a:cubicBezTo>
                    <a:pt x="54363" y="301451"/>
                    <a:pt x="46032" y="293004"/>
                    <a:pt x="38619" y="283779"/>
                  </a:cubicBezTo>
                  <a:lnTo>
                    <a:pt x="34249" y="278350"/>
                  </a:lnTo>
                  <a:lnTo>
                    <a:pt x="28823" y="271593"/>
                  </a:lnTo>
                  <a:lnTo>
                    <a:pt x="33154" y="264036"/>
                  </a:lnTo>
                  <a:lnTo>
                    <a:pt x="43801" y="244860"/>
                  </a:lnTo>
                  <a:cubicBezTo>
                    <a:pt x="43821" y="244793"/>
                    <a:pt x="43821" y="244721"/>
                    <a:pt x="43801" y="244654"/>
                  </a:cubicBezTo>
                  <a:cubicBezTo>
                    <a:pt x="42551" y="242320"/>
                    <a:pt x="41352" y="239934"/>
                    <a:pt x="40231" y="237535"/>
                  </a:cubicBezTo>
                  <a:cubicBezTo>
                    <a:pt x="40153" y="237381"/>
                    <a:pt x="40153" y="237381"/>
                    <a:pt x="40153" y="237381"/>
                  </a:cubicBezTo>
                  <a:lnTo>
                    <a:pt x="18446" y="234376"/>
                  </a:lnTo>
                  <a:lnTo>
                    <a:pt x="9848" y="233190"/>
                  </a:lnTo>
                  <a:lnTo>
                    <a:pt x="7721" y="224782"/>
                  </a:lnTo>
                  <a:lnTo>
                    <a:pt x="5994" y="218037"/>
                  </a:lnTo>
                  <a:cubicBezTo>
                    <a:pt x="4550" y="212312"/>
                    <a:pt x="3364" y="206496"/>
                    <a:pt x="2501" y="200706"/>
                  </a:cubicBezTo>
                  <a:cubicBezTo>
                    <a:pt x="1637" y="194916"/>
                    <a:pt x="1044" y="188997"/>
                    <a:pt x="761" y="183116"/>
                  </a:cubicBezTo>
                  <a:lnTo>
                    <a:pt x="425" y="176166"/>
                  </a:lnTo>
                  <a:lnTo>
                    <a:pt x="0" y="167500"/>
                  </a:lnTo>
                  <a:lnTo>
                    <a:pt x="7863" y="163838"/>
                  </a:lnTo>
                  <a:lnTo>
                    <a:pt x="27701" y="154617"/>
                  </a:lnTo>
                  <a:cubicBezTo>
                    <a:pt x="27721" y="154554"/>
                    <a:pt x="27721" y="154487"/>
                    <a:pt x="27701" y="154424"/>
                  </a:cubicBezTo>
                  <a:cubicBezTo>
                    <a:pt x="28049" y="151806"/>
                    <a:pt x="28488" y="149150"/>
                    <a:pt x="28990" y="146570"/>
                  </a:cubicBezTo>
                  <a:cubicBezTo>
                    <a:pt x="28990" y="146467"/>
                    <a:pt x="28990" y="146390"/>
                    <a:pt x="28990" y="146390"/>
                  </a:cubicBezTo>
                  <a:lnTo>
                    <a:pt x="13148" y="131160"/>
                  </a:lnTo>
                  <a:lnTo>
                    <a:pt x="6909" y="125151"/>
                  </a:lnTo>
                  <a:lnTo>
                    <a:pt x="10067" y="117066"/>
                  </a:lnTo>
                  <a:lnTo>
                    <a:pt x="12645" y="110618"/>
                  </a:lnTo>
                  <a:cubicBezTo>
                    <a:pt x="17022" y="99651"/>
                    <a:pt x="22499" y="89157"/>
                    <a:pt x="28990" y="79295"/>
                  </a:cubicBezTo>
                  <a:lnTo>
                    <a:pt x="32857" y="73479"/>
                  </a:lnTo>
                  <a:lnTo>
                    <a:pt x="37614" y="66257"/>
                  </a:lnTo>
                  <a:lnTo>
                    <a:pt x="46096" y="67908"/>
                  </a:lnTo>
                  <a:lnTo>
                    <a:pt x="67610" y="72125"/>
                  </a:lnTo>
                  <a:cubicBezTo>
                    <a:pt x="67677" y="72105"/>
                    <a:pt x="67736" y="72064"/>
                    <a:pt x="67777" y="72009"/>
                  </a:cubicBezTo>
                  <a:cubicBezTo>
                    <a:pt x="69530" y="70113"/>
                    <a:pt x="71490" y="68256"/>
                    <a:pt x="73397" y="66464"/>
                  </a:cubicBezTo>
                  <a:cubicBezTo>
                    <a:pt x="73513" y="66335"/>
                    <a:pt x="73513" y="66335"/>
                    <a:pt x="73513" y="66335"/>
                  </a:cubicBezTo>
                  <a:lnTo>
                    <a:pt x="69646" y="44631"/>
                  </a:lnTo>
                  <a:lnTo>
                    <a:pt x="68125" y="36107"/>
                  </a:lnTo>
                  <a:lnTo>
                    <a:pt x="75434" y="31465"/>
                  </a:lnTo>
                  <a:lnTo>
                    <a:pt x="81312" y="27738"/>
                  </a:lnTo>
                  <a:cubicBezTo>
                    <a:pt x="91290" y="21414"/>
                    <a:pt x="101895" y="16138"/>
                    <a:pt x="112958" y="11993"/>
                  </a:cubicBezTo>
                  <a:lnTo>
                    <a:pt x="119480" y="9530"/>
                  </a:lnTo>
                  <a:lnTo>
                    <a:pt x="127562" y="6499"/>
                  </a:lnTo>
                  <a:lnTo>
                    <a:pt x="133440" y="12818"/>
                  </a:lnTo>
                  <a:lnTo>
                    <a:pt x="148406" y="28654"/>
                  </a:lnTo>
                  <a:lnTo>
                    <a:pt x="148612" y="28654"/>
                  </a:lnTo>
                  <a:cubicBezTo>
                    <a:pt x="149966" y="28422"/>
                    <a:pt x="151190" y="28203"/>
                    <a:pt x="152544" y="28009"/>
                  </a:cubicBezTo>
                  <a:cubicBezTo>
                    <a:pt x="153897" y="27816"/>
                    <a:pt x="155186" y="27635"/>
                    <a:pt x="156475" y="27480"/>
                  </a:cubicBezTo>
                  <a:lnTo>
                    <a:pt x="156643" y="27480"/>
                  </a:lnTo>
                  <a:lnTo>
                    <a:pt x="166207" y="7737"/>
                  </a:lnTo>
                  <a:close/>
                </a:path>
              </a:pathLst>
            </a:custGeom>
            <a:solidFill>
              <a:srgbClr val="025EA1"/>
            </a:solidFill>
            <a:ln w="12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628E147C-E162-0814-E5E4-15BA9E795FDF}"/>
              </a:ext>
            </a:extLst>
          </p:cNvPr>
          <p:cNvSpPr txBox="1"/>
          <p:nvPr/>
        </p:nvSpPr>
        <p:spPr>
          <a:xfrm>
            <a:off x="862826" y="4256751"/>
            <a:ext cx="36473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48"/>
            <a:r>
              <a:rPr lang="ru-RU" sz="1600" b="1" dirty="0">
                <a:gradFill flip="none" rotWithShape="1">
                  <a:gsLst>
                    <a:gs pos="0">
                      <a:schemeClr val="accent3"/>
                    </a:gs>
                    <a:gs pos="97000">
                      <a:schemeClr val="accent1"/>
                    </a:gs>
                  </a:gsLst>
                  <a:lin ang="5400000" scaled="1"/>
                  <a:tileRect/>
                </a:gradFill>
                <a:latin typeface="Arial" panose="020B0604020202020204" pitchFamily="34" charset="0"/>
                <a:cs typeface="Arial" panose="020B0604020202020204" pitchFamily="34" charset="0"/>
              </a:rPr>
              <a:t>Динамика исполнения контракта  </a:t>
            </a:r>
          </a:p>
        </p:txBody>
      </p:sp>
      <p:cxnSp>
        <p:nvCxnSpPr>
          <p:cNvPr id="40" name="Straight Connector 19">
            <a:extLst>
              <a:ext uri="{FF2B5EF4-FFF2-40B4-BE49-F238E27FC236}">
                <a16:creationId xmlns:a16="http://schemas.microsoft.com/office/drawing/2014/main" id="{698A48BB-520B-5B30-D06F-6CC128AAE3CD}"/>
              </a:ext>
            </a:extLst>
          </p:cNvPr>
          <p:cNvCxnSpPr>
            <a:cxnSpLocks/>
          </p:cNvCxnSpPr>
          <p:nvPr/>
        </p:nvCxnSpPr>
        <p:spPr>
          <a:xfrm flipH="1">
            <a:off x="778177" y="4838488"/>
            <a:ext cx="10518279" cy="0"/>
          </a:xfrm>
          <a:prstGeom prst="line">
            <a:avLst/>
          </a:prstGeom>
          <a:ln w="1905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Рисунок 82">
            <a:extLst>
              <a:ext uri="{FF2B5EF4-FFF2-40B4-BE49-F238E27FC236}">
                <a16:creationId xmlns:a16="http://schemas.microsoft.com/office/drawing/2014/main" id="{4E8E3138-27CD-3F8A-3912-14ED11BA3E83}"/>
              </a:ext>
            </a:extLst>
          </p:cNvPr>
          <p:cNvSpPr/>
          <p:nvPr/>
        </p:nvSpPr>
        <p:spPr>
          <a:xfrm rot="10800000">
            <a:off x="1054496" y="4748709"/>
            <a:ext cx="200636" cy="179558"/>
          </a:xfrm>
          <a:custGeom>
            <a:avLst/>
            <a:gdLst>
              <a:gd name="connsiteX0" fmla="*/ 180000 w 359999"/>
              <a:gd name="connsiteY0" fmla="*/ 0 h 360000"/>
              <a:gd name="connsiteX1" fmla="*/ 0 w 359999"/>
              <a:gd name="connsiteY1" fmla="*/ 180000 h 360000"/>
              <a:gd name="connsiteX2" fmla="*/ 180000 w 359999"/>
              <a:gd name="connsiteY2" fmla="*/ 360000 h 360000"/>
              <a:gd name="connsiteX3" fmla="*/ 360000 w 359999"/>
              <a:gd name="connsiteY3" fmla="*/ 180000 h 360000"/>
              <a:gd name="connsiteX4" fmla="*/ 180000 w 359999"/>
              <a:gd name="connsiteY4" fmla="*/ 0 h 360000"/>
              <a:gd name="connsiteX5" fmla="*/ 222381 w 359999"/>
              <a:gd name="connsiteY5" fmla="*/ 271612 h 360000"/>
              <a:gd name="connsiteX6" fmla="*/ 223513 w 359999"/>
              <a:gd name="connsiteY6" fmla="*/ 285814 h 360000"/>
              <a:gd name="connsiteX7" fmla="*/ 209310 w 359999"/>
              <a:gd name="connsiteY7" fmla="*/ 286947 h 360000"/>
              <a:gd name="connsiteX8" fmla="*/ 208209 w 359999"/>
              <a:gd name="connsiteY8" fmla="*/ 285851 h 360000"/>
              <a:gd name="connsiteX9" fmla="*/ 109478 w 359999"/>
              <a:gd name="connsiteY9" fmla="*/ 187119 h 360000"/>
              <a:gd name="connsiteX10" fmla="*/ 109468 w 359999"/>
              <a:gd name="connsiteY10" fmla="*/ 172891 h 360000"/>
              <a:gd name="connsiteX11" fmla="*/ 109478 w 359999"/>
              <a:gd name="connsiteY11" fmla="*/ 172881 h 360000"/>
              <a:gd name="connsiteX12" fmla="*/ 208209 w 359999"/>
              <a:gd name="connsiteY12" fmla="*/ 74149 h 360000"/>
              <a:gd name="connsiteX13" fmla="*/ 222448 w 359999"/>
              <a:gd name="connsiteY13" fmla="*/ 74652 h 360000"/>
              <a:gd name="connsiteX14" fmla="*/ 222448 w 359999"/>
              <a:gd name="connsiteY14" fmla="*/ 88388 h 360000"/>
              <a:gd name="connsiteX15" fmla="*/ 130769 w 359999"/>
              <a:gd name="connsiteY15" fmla="*/ 180000 h 3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59999" h="360000">
                <a:moveTo>
                  <a:pt x="180000" y="0"/>
                </a:moveTo>
                <a:cubicBezTo>
                  <a:pt x="80589" y="0"/>
                  <a:pt x="0" y="80589"/>
                  <a:pt x="0" y="180000"/>
                </a:cubicBezTo>
                <a:cubicBezTo>
                  <a:pt x="0" y="279411"/>
                  <a:pt x="80589" y="360000"/>
                  <a:pt x="180000" y="360000"/>
                </a:cubicBezTo>
                <a:cubicBezTo>
                  <a:pt x="279411" y="360000"/>
                  <a:pt x="360000" y="279411"/>
                  <a:pt x="360000" y="180000"/>
                </a:cubicBezTo>
                <a:cubicBezTo>
                  <a:pt x="360000" y="80589"/>
                  <a:pt x="279411" y="0"/>
                  <a:pt x="180000" y="0"/>
                </a:cubicBezTo>
                <a:close/>
                <a:moveTo>
                  <a:pt x="222381" y="271612"/>
                </a:moveTo>
                <a:cubicBezTo>
                  <a:pt x="226615" y="275221"/>
                  <a:pt x="227122" y="281580"/>
                  <a:pt x="223513" y="285814"/>
                </a:cubicBezTo>
                <a:cubicBezTo>
                  <a:pt x="219904" y="290049"/>
                  <a:pt x="213544" y="290556"/>
                  <a:pt x="209310" y="286947"/>
                </a:cubicBezTo>
                <a:cubicBezTo>
                  <a:pt x="208916" y="286610"/>
                  <a:pt x="208547" y="286244"/>
                  <a:pt x="208209" y="285851"/>
                </a:cubicBezTo>
                <a:lnTo>
                  <a:pt x="109478" y="187119"/>
                </a:lnTo>
                <a:cubicBezTo>
                  <a:pt x="105546" y="183193"/>
                  <a:pt x="105541" y="176823"/>
                  <a:pt x="109468" y="172891"/>
                </a:cubicBezTo>
                <a:cubicBezTo>
                  <a:pt x="109471" y="172887"/>
                  <a:pt x="109474" y="172885"/>
                  <a:pt x="109478" y="172881"/>
                </a:cubicBezTo>
                <a:lnTo>
                  <a:pt x="208209" y="74149"/>
                </a:lnTo>
                <a:cubicBezTo>
                  <a:pt x="212279" y="70356"/>
                  <a:pt x="218654" y="70581"/>
                  <a:pt x="222448" y="74652"/>
                </a:cubicBezTo>
                <a:cubicBezTo>
                  <a:pt x="226053" y="78521"/>
                  <a:pt x="226053" y="84519"/>
                  <a:pt x="222448" y="88388"/>
                </a:cubicBezTo>
                <a:lnTo>
                  <a:pt x="130769" y="180000"/>
                </a:lnTo>
                <a:close/>
              </a:path>
            </a:pathLst>
          </a:custGeom>
          <a:solidFill>
            <a:schemeClr val="accent2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2" name="Рисунок 82">
            <a:extLst>
              <a:ext uri="{FF2B5EF4-FFF2-40B4-BE49-F238E27FC236}">
                <a16:creationId xmlns:a16="http://schemas.microsoft.com/office/drawing/2014/main" id="{6A356C0E-6632-36C0-971E-300521EA51D3}"/>
              </a:ext>
            </a:extLst>
          </p:cNvPr>
          <p:cNvSpPr/>
          <p:nvPr/>
        </p:nvSpPr>
        <p:spPr>
          <a:xfrm rot="10800000">
            <a:off x="2161490" y="4748709"/>
            <a:ext cx="200636" cy="179558"/>
          </a:xfrm>
          <a:custGeom>
            <a:avLst/>
            <a:gdLst>
              <a:gd name="connsiteX0" fmla="*/ 180000 w 359999"/>
              <a:gd name="connsiteY0" fmla="*/ 0 h 360000"/>
              <a:gd name="connsiteX1" fmla="*/ 0 w 359999"/>
              <a:gd name="connsiteY1" fmla="*/ 180000 h 360000"/>
              <a:gd name="connsiteX2" fmla="*/ 180000 w 359999"/>
              <a:gd name="connsiteY2" fmla="*/ 360000 h 360000"/>
              <a:gd name="connsiteX3" fmla="*/ 360000 w 359999"/>
              <a:gd name="connsiteY3" fmla="*/ 180000 h 360000"/>
              <a:gd name="connsiteX4" fmla="*/ 180000 w 359999"/>
              <a:gd name="connsiteY4" fmla="*/ 0 h 360000"/>
              <a:gd name="connsiteX5" fmla="*/ 222381 w 359999"/>
              <a:gd name="connsiteY5" fmla="*/ 271612 h 360000"/>
              <a:gd name="connsiteX6" fmla="*/ 223513 w 359999"/>
              <a:gd name="connsiteY6" fmla="*/ 285814 h 360000"/>
              <a:gd name="connsiteX7" fmla="*/ 209310 w 359999"/>
              <a:gd name="connsiteY7" fmla="*/ 286947 h 360000"/>
              <a:gd name="connsiteX8" fmla="*/ 208209 w 359999"/>
              <a:gd name="connsiteY8" fmla="*/ 285851 h 360000"/>
              <a:gd name="connsiteX9" fmla="*/ 109478 w 359999"/>
              <a:gd name="connsiteY9" fmla="*/ 187119 h 360000"/>
              <a:gd name="connsiteX10" fmla="*/ 109468 w 359999"/>
              <a:gd name="connsiteY10" fmla="*/ 172891 h 360000"/>
              <a:gd name="connsiteX11" fmla="*/ 109478 w 359999"/>
              <a:gd name="connsiteY11" fmla="*/ 172881 h 360000"/>
              <a:gd name="connsiteX12" fmla="*/ 208209 w 359999"/>
              <a:gd name="connsiteY12" fmla="*/ 74149 h 360000"/>
              <a:gd name="connsiteX13" fmla="*/ 222448 w 359999"/>
              <a:gd name="connsiteY13" fmla="*/ 74652 h 360000"/>
              <a:gd name="connsiteX14" fmla="*/ 222448 w 359999"/>
              <a:gd name="connsiteY14" fmla="*/ 88388 h 360000"/>
              <a:gd name="connsiteX15" fmla="*/ 130769 w 359999"/>
              <a:gd name="connsiteY15" fmla="*/ 180000 h 3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59999" h="360000">
                <a:moveTo>
                  <a:pt x="180000" y="0"/>
                </a:moveTo>
                <a:cubicBezTo>
                  <a:pt x="80589" y="0"/>
                  <a:pt x="0" y="80589"/>
                  <a:pt x="0" y="180000"/>
                </a:cubicBezTo>
                <a:cubicBezTo>
                  <a:pt x="0" y="279411"/>
                  <a:pt x="80589" y="360000"/>
                  <a:pt x="180000" y="360000"/>
                </a:cubicBezTo>
                <a:cubicBezTo>
                  <a:pt x="279411" y="360000"/>
                  <a:pt x="360000" y="279411"/>
                  <a:pt x="360000" y="180000"/>
                </a:cubicBezTo>
                <a:cubicBezTo>
                  <a:pt x="360000" y="80589"/>
                  <a:pt x="279411" y="0"/>
                  <a:pt x="180000" y="0"/>
                </a:cubicBezTo>
                <a:close/>
                <a:moveTo>
                  <a:pt x="222381" y="271612"/>
                </a:moveTo>
                <a:cubicBezTo>
                  <a:pt x="226615" y="275221"/>
                  <a:pt x="227122" y="281580"/>
                  <a:pt x="223513" y="285814"/>
                </a:cubicBezTo>
                <a:cubicBezTo>
                  <a:pt x="219904" y="290049"/>
                  <a:pt x="213544" y="290556"/>
                  <a:pt x="209310" y="286947"/>
                </a:cubicBezTo>
                <a:cubicBezTo>
                  <a:pt x="208916" y="286610"/>
                  <a:pt x="208547" y="286244"/>
                  <a:pt x="208209" y="285851"/>
                </a:cubicBezTo>
                <a:lnTo>
                  <a:pt x="109478" y="187119"/>
                </a:lnTo>
                <a:cubicBezTo>
                  <a:pt x="105546" y="183193"/>
                  <a:pt x="105541" y="176823"/>
                  <a:pt x="109468" y="172891"/>
                </a:cubicBezTo>
                <a:cubicBezTo>
                  <a:pt x="109471" y="172887"/>
                  <a:pt x="109474" y="172885"/>
                  <a:pt x="109478" y="172881"/>
                </a:cubicBezTo>
                <a:lnTo>
                  <a:pt x="208209" y="74149"/>
                </a:lnTo>
                <a:cubicBezTo>
                  <a:pt x="212279" y="70356"/>
                  <a:pt x="218654" y="70581"/>
                  <a:pt x="222448" y="74652"/>
                </a:cubicBezTo>
                <a:cubicBezTo>
                  <a:pt x="226053" y="78521"/>
                  <a:pt x="226053" y="84519"/>
                  <a:pt x="222448" y="88388"/>
                </a:cubicBezTo>
                <a:lnTo>
                  <a:pt x="130769" y="180000"/>
                </a:lnTo>
                <a:close/>
              </a:path>
            </a:pathLst>
          </a:custGeom>
          <a:solidFill>
            <a:schemeClr val="accent2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3" name="Рисунок 82">
            <a:extLst>
              <a:ext uri="{FF2B5EF4-FFF2-40B4-BE49-F238E27FC236}">
                <a16:creationId xmlns:a16="http://schemas.microsoft.com/office/drawing/2014/main" id="{B57EBF71-5CE0-893D-E18F-F9D1EB5CF924}"/>
              </a:ext>
            </a:extLst>
          </p:cNvPr>
          <p:cNvSpPr/>
          <p:nvPr/>
        </p:nvSpPr>
        <p:spPr>
          <a:xfrm rot="10800000">
            <a:off x="3387364" y="4748709"/>
            <a:ext cx="200636" cy="179558"/>
          </a:xfrm>
          <a:custGeom>
            <a:avLst/>
            <a:gdLst>
              <a:gd name="connsiteX0" fmla="*/ 180000 w 359999"/>
              <a:gd name="connsiteY0" fmla="*/ 0 h 360000"/>
              <a:gd name="connsiteX1" fmla="*/ 0 w 359999"/>
              <a:gd name="connsiteY1" fmla="*/ 180000 h 360000"/>
              <a:gd name="connsiteX2" fmla="*/ 180000 w 359999"/>
              <a:gd name="connsiteY2" fmla="*/ 360000 h 360000"/>
              <a:gd name="connsiteX3" fmla="*/ 360000 w 359999"/>
              <a:gd name="connsiteY3" fmla="*/ 180000 h 360000"/>
              <a:gd name="connsiteX4" fmla="*/ 180000 w 359999"/>
              <a:gd name="connsiteY4" fmla="*/ 0 h 360000"/>
              <a:gd name="connsiteX5" fmla="*/ 222381 w 359999"/>
              <a:gd name="connsiteY5" fmla="*/ 271612 h 360000"/>
              <a:gd name="connsiteX6" fmla="*/ 223513 w 359999"/>
              <a:gd name="connsiteY6" fmla="*/ 285814 h 360000"/>
              <a:gd name="connsiteX7" fmla="*/ 209310 w 359999"/>
              <a:gd name="connsiteY7" fmla="*/ 286947 h 360000"/>
              <a:gd name="connsiteX8" fmla="*/ 208209 w 359999"/>
              <a:gd name="connsiteY8" fmla="*/ 285851 h 360000"/>
              <a:gd name="connsiteX9" fmla="*/ 109478 w 359999"/>
              <a:gd name="connsiteY9" fmla="*/ 187119 h 360000"/>
              <a:gd name="connsiteX10" fmla="*/ 109468 w 359999"/>
              <a:gd name="connsiteY10" fmla="*/ 172891 h 360000"/>
              <a:gd name="connsiteX11" fmla="*/ 109478 w 359999"/>
              <a:gd name="connsiteY11" fmla="*/ 172881 h 360000"/>
              <a:gd name="connsiteX12" fmla="*/ 208209 w 359999"/>
              <a:gd name="connsiteY12" fmla="*/ 74149 h 360000"/>
              <a:gd name="connsiteX13" fmla="*/ 222448 w 359999"/>
              <a:gd name="connsiteY13" fmla="*/ 74652 h 360000"/>
              <a:gd name="connsiteX14" fmla="*/ 222448 w 359999"/>
              <a:gd name="connsiteY14" fmla="*/ 88388 h 360000"/>
              <a:gd name="connsiteX15" fmla="*/ 130769 w 359999"/>
              <a:gd name="connsiteY15" fmla="*/ 180000 h 3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59999" h="360000">
                <a:moveTo>
                  <a:pt x="180000" y="0"/>
                </a:moveTo>
                <a:cubicBezTo>
                  <a:pt x="80589" y="0"/>
                  <a:pt x="0" y="80589"/>
                  <a:pt x="0" y="180000"/>
                </a:cubicBezTo>
                <a:cubicBezTo>
                  <a:pt x="0" y="279411"/>
                  <a:pt x="80589" y="360000"/>
                  <a:pt x="180000" y="360000"/>
                </a:cubicBezTo>
                <a:cubicBezTo>
                  <a:pt x="279411" y="360000"/>
                  <a:pt x="360000" y="279411"/>
                  <a:pt x="360000" y="180000"/>
                </a:cubicBezTo>
                <a:cubicBezTo>
                  <a:pt x="360000" y="80589"/>
                  <a:pt x="279411" y="0"/>
                  <a:pt x="180000" y="0"/>
                </a:cubicBezTo>
                <a:close/>
                <a:moveTo>
                  <a:pt x="222381" y="271612"/>
                </a:moveTo>
                <a:cubicBezTo>
                  <a:pt x="226615" y="275221"/>
                  <a:pt x="227122" y="281580"/>
                  <a:pt x="223513" y="285814"/>
                </a:cubicBezTo>
                <a:cubicBezTo>
                  <a:pt x="219904" y="290049"/>
                  <a:pt x="213544" y="290556"/>
                  <a:pt x="209310" y="286947"/>
                </a:cubicBezTo>
                <a:cubicBezTo>
                  <a:pt x="208916" y="286610"/>
                  <a:pt x="208547" y="286244"/>
                  <a:pt x="208209" y="285851"/>
                </a:cubicBezTo>
                <a:lnTo>
                  <a:pt x="109478" y="187119"/>
                </a:lnTo>
                <a:cubicBezTo>
                  <a:pt x="105546" y="183193"/>
                  <a:pt x="105541" y="176823"/>
                  <a:pt x="109468" y="172891"/>
                </a:cubicBezTo>
                <a:cubicBezTo>
                  <a:pt x="109471" y="172887"/>
                  <a:pt x="109474" y="172885"/>
                  <a:pt x="109478" y="172881"/>
                </a:cubicBezTo>
                <a:lnTo>
                  <a:pt x="208209" y="74149"/>
                </a:lnTo>
                <a:cubicBezTo>
                  <a:pt x="212279" y="70356"/>
                  <a:pt x="218654" y="70581"/>
                  <a:pt x="222448" y="74652"/>
                </a:cubicBezTo>
                <a:cubicBezTo>
                  <a:pt x="226053" y="78521"/>
                  <a:pt x="226053" y="84519"/>
                  <a:pt x="222448" y="88388"/>
                </a:cubicBezTo>
                <a:lnTo>
                  <a:pt x="130769" y="180000"/>
                </a:lnTo>
                <a:close/>
              </a:path>
            </a:pathLst>
          </a:custGeom>
          <a:solidFill>
            <a:schemeClr val="accent2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4" name="Рисунок 82">
            <a:extLst>
              <a:ext uri="{FF2B5EF4-FFF2-40B4-BE49-F238E27FC236}">
                <a16:creationId xmlns:a16="http://schemas.microsoft.com/office/drawing/2014/main" id="{E2756104-AD77-7A6F-BE73-18E30577ECF2}"/>
              </a:ext>
            </a:extLst>
          </p:cNvPr>
          <p:cNvSpPr/>
          <p:nvPr/>
        </p:nvSpPr>
        <p:spPr>
          <a:xfrm rot="10800000">
            <a:off x="4765262" y="4743431"/>
            <a:ext cx="200636" cy="179558"/>
          </a:xfrm>
          <a:custGeom>
            <a:avLst/>
            <a:gdLst>
              <a:gd name="connsiteX0" fmla="*/ 180000 w 359999"/>
              <a:gd name="connsiteY0" fmla="*/ 0 h 360000"/>
              <a:gd name="connsiteX1" fmla="*/ 0 w 359999"/>
              <a:gd name="connsiteY1" fmla="*/ 180000 h 360000"/>
              <a:gd name="connsiteX2" fmla="*/ 180000 w 359999"/>
              <a:gd name="connsiteY2" fmla="*/ 360000 h 360000"/>
              <a:gd name="connsiteX3" fmla="*/ 360000 w 359999"/>
              <a:gd name="connsiteY3" fmla="*/ 180000 h 360000"/>
              <a:gd name="connsiteX4" fmla="*/ 180000 w 359999"/>
              <a:gd name="connsiteY4" fmla="*/ 0 h 360000"/>
              <a:gd name="connsiteX5" fmla="*/ 222381 w 359999"/>
              <a:gd name="connsiteY5" fmla="*/ 271612 h 360000"/>
              <a:gd name="connsiteX6" fmla="*/ 223513 w 359999"/>
              <a:gd name="connsiteY6" fmla="*/ 285814 h 360000"/>
              <a:gd name="connsiteX7" fmla="*/ 209310 w 359999"/>
              <a:gd name="connsiteY7" fmla="*/ 286947 h 360000"/>
              <a:gd name="connsiteX8" fmla="*/ 208209 w 359999"/>
              <a:gd name="connsiteY8" fmla="*/ 285851 h 360000"/>
              <a:gd name="connsiteX9" fmla="*/ 109478 w 359999"/>
              <a:gd name="connsiteY9" fmla="*/ 187119 h 360000"/>
              <a:gd name="connsiteX10" fmla="*/ 109468 w 359999"/>
              <a:gd name="connsiteY10" fmla="*/ 172891 h 360000"/>
              <a:gd name="connsiteX11" fmla="*/ 109478 w 359999"/>
              <a:gd name="connsiteY11" fmla="*/ 172881 h 360000"/>
              <a:gd name="connsiteX12" fmla="*/ 208209 w 359999"/>
              <a:gd name="connsiteY12" fmla="*/ 74149 h 360000"/>
              <a:gd name="connsiteX13" fmla="*/ 222448 w 359999"/>
              <a:gd name="connsiteY13" fmla="*/ 74652 h 360000"/>
              <a:gd name="connsiteX14" fmla="*/ 222448 w 359999"/>
              <a:gd name="connsiteY14" fmla="*/ 88388 h 360000"/>
              <a:gd name="connsiteX15" fmla="*/ 130769 w 359999"/>
              <a:gd name="connsiteY15" fmla="*/ 180000 h 3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59999" h="360000">
                <a:moveTo>
                  <a:pt x="180000" y="0"/>
                </a:moveTo>
                <a:cubicBezTo>
                  <a:pt x="80589" y="0"/>
                  <a:pt x="0" y="80589"/>
                  <a:pt x="0" y="180000"/>
                </a:cubicBezTo>
                <a:cubicBezTo>
                  <a:pt x="0" y="279411"/>
                  <a:pt x="80589" y="360000"/>
                  <a:pt x="180000" y="360000"/>
                </a:cubicBezTo>
                <a:cubicBezTo>
                  <a:pt x="279411" y="360000"/>
                  <a:pt x="360000" y="279411"/>
                  <a:pt x="360000" y="180000"/>
                </a:cubicBezTo>
                <a:cubicBezTo>
                  <a:pt x="360000" y="80589"/>
                  <a:pt x="279411" y="0"/>
                  <a:pt x="180000" y="0"/>
                </a:cubicBezTo>
                <a:close/>
                <a:moveTo>
                  <a:pt x="222381" y="271612"/>
                </a:moveTo>
                <a:cubicBezTo>
                  <a:pt x="226615" y="275221"/>
                  <a:pt x="227122" y="281580"/>
                  <a:pt x="223513" y="285814"/>
                </a:cubicBezTo>
                <a:cubicBezTo>
                  <a:pt x="219904" y="290049"/>
                  <a:pt x="213544" y="290556"/>
                  <a:pt x="209310" y="286947"/>
                </a:cubicBezTo>
                <a:cubicBezTo>
                  <a:pt x="208916" y="286610"/>
                  <a:pt x="208547" y="286244"/>
                  <a:pt x="208209" y="285851"/>
                </a:cubicBezTo>
                <a:lnTo>
                  <a:pt x="109478" y="187119"/>
                </a:lnTo>
                <a:cubicBezTo>
                  <a:pt x="105546" y="183193"/>
                  <a:pt x="105541" y="176823"/>
                  <a:pt x="109468" y="172891"/>
                </a:cubicBezTo>
                <a:cubicBezTo>
                  <a:pt x="109471" y="172887"/>
                  <a:pt x="109474" y="172885"/>
                  <a:pt x="109478" y="172881"/>
                </a:cubicBezTo>
                <a:lnTo>
                  <a:pt x="208209" y="74149"/>
                </a:lnTo>
                <a:cubicBezTo>
                  <a:pt x="212279" y="70356"/>
                  <a:pt x="218654" y="70581"/>
                  <a:pt x="222448" y="74652"/>
                </a:cubicBezTo>
                <a:cubicBezTo>
                  <a:pt x="226053" y="78521"/>
                  <a:pt x="226053" y="84519"/>
                  <a:pt x="222448" y="88388"/>
                </a:cubicBezTo>
                <a:lnTo>
                  <a:pt x="130769" y="180000"/>
                </a:lnTo>
                <a:close/>
              </a:path>
            </a:pathLst>
          </a:custGeom>
          <a:solidFill>
            <a:schemeClr val="accent2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5" name="Рисунок 82">
            <a:extLst>
              <a:ext uri="{FF2B5EF4-FFF2-40B4-BE49-F238E27FC236}">
                <a16:creationId xmlns:a16="http://schemas.microsoft.com/office/drawing/2014/main" id="{5244F7ED-6A8F-7130-8133-B83F3F2D6601}"/>
              </a:ext>
            </a:extLst>
          </p:cNvPr>
          <p:cNvSpPr/>
          <p:nvPr/>
        </p:nvSpPr>
        <p:spPr>
          <a:xfrm rot="10800000">
            <a:off x="6193106" y="4753012"/>
            <a:ext cx="200636" cy="179558"/>
          </a:xfrm>
          <a:custGeom>
            <a:avLst/>
            <a:gdLst>
              <a:gd name="connsiteX0" fmla="*/ 180000 w 359999"/>
              <a:gd name="connsiteY0" fmla="*/ 0 h 360000"/>
              <a:gd name="connsiteX1" fmla="*/ 0 w 359999"/>
              <a:gd name="connsiteY1" fmla="*/ 180000 h 360000"/>
              <a:gd name="connsiteX2" fmla="*/ 180000 w 359999"/>
              <a:gd name="connsiteY2" fmla="*/ 360000 h 360000"/>
              <a:gd name="connsiteX3" fmla="*/ 360000 w 359999"/>
              <a:gd name="connsiteY3" fmla="*/ 180000 h 360000"/>
              <a:gd name="connsiteX4" fmla="*/ 180000 w 359999"/>
              <a:gd name="connsiteY4" fmla="*/ 0 h 360000"/>
              <a:gd name="connsiteX5" fmla="*/ 222381 w 359999"/>
              <a:gd name="connsiteY5" fmla="*/ 271612 h 360000"/>
              <a:gd name="connsiteX6" fmla="*/ 223513 w 359999"/>
              <a:gd name="connsiteY6" fmla="*/ 285814 h 360000"/>
              <a:gd name="connsiteX7" fmla="*/ 209310 w 359999"/>
              <a:gd name="connsiteY7" fmla="*/ 286947 h 360000"/>
              <a:gd name="connsiteX8" fmla="*/ 208209 w 359999"/>
              <a:gd name="connsiteY8" fmla="*/ 285851 h 360000"/>
              <a:gd name="connsiteX9" fmla="*/ 109478 w 359999"/>
              <a:gd name="connsiteY9" fmla="*/ 187119 h 360000"/>
              <a:gd name="connsiteX10" fmla="*/ 109468 w 359999"/>
              <a:gd name="connsiteY10" fmla="*/ 172891 h 360000"/>
              <a:gd name="connsiteX11" fmla="*/ 109478 w 359999"/>
              <a:gd name="connsiteY11" fmla="*/ 172881 h 360000"/>
              <a:gd name="connsiteX12" fmla="*/ 208209 w 359999"/>
              <a:gd name="connsiteY12" fmla="*/ 74149 h 360000"/>
              <a:gd name="connsiteX13" fmla="*/ 222448 w 359999"/>
              <a:gd name="connsiteY13" fmla="*/ 74652 h 360000"/>
              <a:gd name="connsiteX14" fmla="*/ 222448 w 359999"/>
              <a:gd name="connsiteY14" fmla="*/ 88388 h 360000"/>
              <a:gd name="connsiteX15" fmla="*/ 130769 w 359999"/>
              <a:gd name="connsiteY15" fmla="*/ 180000 h 3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59999" h="360000">
                <a:moveTo>
                  <a:pt x="180000" y="0"/>
                </a:moveTo>
                <a:cubicBezTo>
                  <a:pt x="80589" y="0"/>
                  <a:pt x="0" y="80589"/>
                  <a:pt x="0" y="180000"/>
                </a:cubicBezTo>
                <a:cubicBezTo>
                  <a:pt x="0" y="279411"/>
                  <a:pt x="80589" y="360000"/>
                  <a:pt x="180000" y="360000"/>
                </a:cubicBezTo>
                <a:cubicBezTo>
                  <a:pt x="279411" y="360000"/>
                  <a:pt x="360000" y="279411"/>
                  <a:pt x="360000" y="180000"/>
                </a:cubicBezTo>
                <a:cubicBezTo>
                  <a:pt x="360000" y="80589"/>
                  <a:pt x="279411" y="0"/>
                  <a:pt x="180000" y="0"/>
                </a:cubicBezTo>
                <a:close/>
                <a:moveTo>
                  <a:pt x="222381" y="271612"/>
                </a:moveTo>
                <a:cubicBezTo>
                  <a:pt x="226615" y="275221"/>
                  <a:pt x="227122" y="281580"/>
                  <a:pt x="223513" y="285814"/>
                </a:cubicBezTo>
                <a:cubicBezTo>
                  <a:pt x="219904" y="290049"/>
                  <a:pt x="213544" y="290556"/>
                  <a:pt x="209310" y="286947"/>
                </a:cubicBezTo>
                <a:cubicBezTo>
                  <a:pt x="208916" y="286610"/>
                  <a:pt x="208547" y="286244"/>
                  <a:pt x="208209" y="285851"/>
                </a:cubicBezTo>
                <a:lnTo>
                  <a:pt x="109478" y="187119"/>
                </a:lnTo>
                <a:cubicBezTo>
                  <a:pt x="105546" y="183193"/>
                  <a:pt x="105541" y="176823"/>
                  <a:pt x="109468" y="172891"/>
                </a:cubicBezTo>
                <a:cubicBezTo>
                  <a:pt x="109471" y="172887"/>
                  <a:pt x="109474" y="172885"/>
                  <a:pt x="109478" y="172881"/>
                </a:cubicBezTo>
                <a:lnTo>
                  <a:pt x="208209" y="74149"/>
                </a:lnTo>
                <a:cubicBezTo>
                  <a:pt x="212279" y="70356"/>
                  <a:pt x="218654" y="70581"/>
                  <a:pt x="222448" y="74652"/>
                </a:cubicBezTo>
                <a:cubicBezTo>
                  <a:pt x="226053" y="78521"/>
                  <a:pt x="226053" y="84519"/>
                  <a:pt x="222448" y="88388"/>
                </a:cubicBezTo>
                <a:lnTo>
                  <a:pt x="130769" y="180000"/>
                </a:lnTo>
                <a:close/>
              </a:path>
            </a:pathLst>
          </a:custGeom>
          <a:solidFill>
            <a:schemeClr val="accent2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cxnSp>
        <p:nvCxnSpPr>
          <p:cNvPr id="49" name="Прямая соединительная линия 48">
            <a:extLst>
              <a:ext uri="{FF2B5EF4-FFF2-40B4-BE49-F238E27FC236}">
                <a16:creationId xmlns:a16="http://schemas.microsoft.com/office/drawing/2014/main" id="{17F5C896-C10F-09B8-7B91-D58B4530833E}"/>
              </a:ext>
            </a:extLst>
          </p:cNvPr>
          <p:cNvCxnSpPr>
            <a:cxnSpLocks/>
          </p:cNvCxnSpPr>
          <p:nvPr/>
        </p:nvCxnSpPr>
        <p:spPr>
          <a:xfrm>
            <a:off x="5684970" y="2431257"/>
            <a:ext cx="0" cy="1382572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>
            <a:extLst>
              <a:ext uri="{FF2B5EF4-FFF2-40B4-BE49-F238E27FC236}">
                <a16:creationId xmlns:a16="http://schemas.microsoft.com/office/drawing/2014/main" id="{2E216301-444D-C9F3-A2A4-35B9148EC89C}"/>
              </a:ext>
            </a:extLst>
          </p:cNvPr>
          <p:cNvCxnSpPr>
            <a:cxnSpLocks/>
          </p:cNvCxnSpPr>
          <p:nvPr/>
        </p:nvCxnSpPr>
        <p:spPr>
          <a:xfrm>
            <a:off x="5684970" y="4066825"/>
            <a:ext cx="0" cy="1760865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8153394D-A68F-2885-48CA-C7E9ACF4F6FB}"/>
              </a:ext>
            </a:extLst>
          </p:cNvPr>
          <p:cNvSpPr txBox="1"/>
          <p:nvPr/>
        </p:nvSpPr>
        <p:spPr>
          <a:xfrm>
            <a:off x="1954139" y="5991239"/>
            <a:ext cx="1552861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defTabSz="914348"/>
            <a:r>
              <a:rPr lang="ru-RU" sz="1400" b="1" dirty="0" smtClean="0">
                <a:gradFill flip="none" rotWithShape="1">
                  <a:gsLst>
                    <a:gs pos="0">
                      <a:schemeClr val="accent3"/>
                    </a:gs>
                    <a:gs pos="97000">
                      <a:schemeClr val="accent1"/>
                    </a:gs>
                  </a:gsLst>
                  <a:lin ang="5400000" scaled="1"/>
                  <a:tileRect/>
                </a:gradFill>
                <a:latin typeface="Arial" panose="020B0604020202020204" pitchFamily="34" charset="0"/>
                <a:cs typeface="Arial" panose="020B0604020202020204" pitchFamily="34" charset="0"/>
              </a:rPr>
              <a:t>147,9 </a:t>
            </a:r>
            <a:r>
              <a:rPr lang="ru-RU" sz="1400" b="1" dirty="0">
                <a:gradFill flip="none" rotWithShape="1">
                  <a:gsLst>
                    <a:gs pos="0">
                      <a:schemeClr val="accent3"/>
                    </a:gs>
                    <a:gs pos="97000">
                      <a:schemeClr val="accent1"/>
                    </a:gs>
                  </a:gsLst>
                  <a:lin ang="5400000" scaled="1"/>
                  <a:tileRect/>
                </a:gradFill>
                <a:latin typeface="Arial" panose="020B0604020202020204" pitchFamily="34" charset="0"/>
                <a:cs typeface="Arial" panose="020B0604020202020204" pitchFamily="34" charset="0"/>
              </a:rPr>
              <a:t>млн руб.  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7122280" y="2987275"/>
            <a:ext cx="1293331" cy="569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С «Туюк-Суу» вывезено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50% отходов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300" dirty="0">
              <a:solidFill>
                <a:schemeClr val="bg1">
                  <a:lumMod val="50000"/>
                </a:schemeClr>
              </a:solidFill>
              <a:latin typeface="Arial" charset="0"/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С «Талды-Булак» вывезено 50% отходов</a:t>
            </a:r>
            <a:endParaRPr lang="ru-RU" sz="700" dirty="0">
              <a:solidFill>
                <a:schemeClr val="bg1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8500652" y="2972489"/>
            <a:ext cx="1293331" cy="569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С «Туюк-Суу» вывезено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75% отходов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300" dirty="0">
              <a:solidFill>
                <a:schemeClr val="bg1">
                  <a:lumMod val="50000"/>
                </a:schemeClr>
              </a:solidFill>
              <a:latin typeface="Arial" charset="0"/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С «Талды-Булак» вывезено 75% отходов</a:t>
            </a:r>
            <a:endParaRPr lang="ru-RU" sz="700" dirty="0">
              <a:solidFill>
                <a:schemeClr val="bg1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9838772" y="2979534"/>
            <a:ext cx="1293331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С «Туюк-Суу» вывезено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100% отходов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300" dirty="0">
              <a:solidFill>
                <a:schemeClr val="bg1">
                  <a:lumMod val="50000"/>
                </a:schemeClr>
              </a:solidFill>
              <a:latin typeface="Arial" charset="0"/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С «Талды-Булак» вывезено 100% отходов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300" dirty="0" smtClean="0">
              <a:solidFill>
                <a:schemeClr val="bg1">
                  <a:lumMod val="50000"/>
                </a:schemeClr>
              </a:solidFill>
              <a:latin typeface="Arial" charset="0"/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Рекультивация «КАК»</a:t>
            </a:r>
            <a:endParaRPr lang="ru-RU" sz="700" dirty="0">
              <a:solidFill>
                <a:schemeClr val="bg1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717183" y="4982760"/>
            <a:ext cx="112535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b="1" dirty="0" smtClean="0">
                <a:latin typeface="Arial" charset="0"/>
                <a:cs typeface="Arial" charset="0"/>
              </a:rPr>
              <a:t>Мосты через реку Туюк-Суу построены</a:t>
            </a:r>
            <a:endParaRPr lang="ru-RU" sz="700" b="1" dirty="0">
              <a:latin typeface="Arial" charset="0"/>
              <a:cs typeface="Arial" charset="0"/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1867257" y="4973142"/>
            <a:ext cx="1125350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b="1" dirty="0" smtClean="0">
                <a:latin typeface="Arial" charset="0"/>
                <a:cs typeface="Arial" charset="0"/>
              </a:rPr>
              <a:t>Начат мониторинг оползня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300" b="1" dirty="0" smtClean="0">
              <a:latin typeface="Arial" charset="0"/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b="1" dirty="0" smtClean="0">
                <a:latin typeface="Arial" charset="0"/>
                <a:cs typeface="Arial" charset="0"/>
              </a:rPr>
              <a:t>Организована инженерная площадка на «Талды-Булак»</a:t>
            </a:r>
            <a:endParaRPr lang="ru-RU" sz="700" b="1" dirty="0">
              <a:latin typeface="Arial" charset="0"/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700" b="1" dirty="0">
              <a:latin typeface="Arial" charset="0"/>
              <a:cs typeface="Arial" charset="0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3103935" y="4982759"/>
            <a:ext cx="112535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b="1" dirty="0" smtClean="0">
                <a:latin typeface="Arial" charset="0"/>
                <a:cs typeface="Arial" charset="0"/>
              </a:rPr>
              <a:t>Организована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b="1" dirty="0">
                <a:latin typeface="Arial" charset="0"/>
                <a:cs typeface="Arial" charset="0"/>
              </a:rPr>
              <a:t>с</a:t>
            </a:r>
            <a:r>
              <a:rPr lang="ru-RU" sz="700" b="1" dirty="0" smtClean="0">
                <a:latin typeface="Arial" charset="0"/>
                <a:cs typeface="Arial" charset="0"/>
              </a:rPr>
              <a:t>истема водоотведения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b="1" dirty="0" smtClean="0">
                <a:latin typeface="Arial" charset="0"/>
                <a:cs typeface="Arial" charset="0"/>
              </a:rPr>
              <a:t>на «Талды-Булак»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700" b="1" dirty="0">
              <a:latin typeface="Arial" charset="0"/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700" b="1" dirty="0">
              <a:latin typeface="Arial" charset="0"/>
              <a:cs typeface="Arial" charset="0"/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4457476" y="4927927"/>
            <a:ext cx="1125350" cy="8463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b="1" dirty="0" smtClean="0">
                <a:solidFill>
                  <a:srgbClr val="C00000"/>
                </a:solidFill>
                <a:latin typeface="Arial" charset="0"/>
                <a:cs typeface="Arial" charset="0"/>
              </a:rPr>
              <a:t>Внеплановый ремонт дороги через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b="1" dirty="0">
                <a:solidFill>
                  <a:srgbClr val="C00000"/>
                </a:solidFill>
                <a:latin typeface="Arial" charset="0"/>
                <a:cs typeface="Arial" charset="0"/>
              </a:rPr>
              <a:t>п</a:t>
            </a:r>
            <a:r>
              <a:rPr lang="ru-RU" sz="700" b="1" dirty="0" smtClean="0">
                <a:solidFill>
                  <a:srgbClr val="C00000"/>
                </a:solidFill>
                <a:latin typeface="Arial" charset="0"/>
                <a:cs typeface="Arial" charset="0"/>
              </a:rPr>
              <a:t>. Мин-Куш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700" b="1" dirty="0">
              <a:solidFill>
                <a:srgbClr val="C00000"/>
              </a:solidFill>
              <a:latin typeface="Arial" charset="0"/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b="1" dirty="0" smtClean="0">
                <a:solidFill>
                  <a:srgbClr val="C00000"/>
                </a:solidFill>
                <a:latin typeface="Arial" charset="0"/>
                <a:cs typeface="Arial" charset="0"/>
              </a:rPr>
              <a:t>Начало рекультивации «КАК»</a:t>
            </a:r>
            <a:endParaRPr lang="ru-RU" sz="700" b="1" dirty="0">
              <a:solidFill>
                <a:srgbClr val="C00000"/>
              </a:solidFill>
              <a:latin typeface="Arial" charset="0"/>
              <a:cs typeface="Arial" charset="0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5858302" y="4942688"/>
            <a:ext cx="1125350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b="1" dirty="0" smtClean="0">
                <a:solidFill>
                  <a:srgbClr val="C00000"/>
                </a:solidFill>
                <a:latin typeface="Arial" charset="0"/>
                <a:cs typeface="Arial" charset="0"/>
              </a:rPr>
              <a:t>Внеплановый ремонт дороги через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b="1" dirty="0">
                <a:solidFill>
                  <a:srgbClr val="C00000"/>
                </a:solidFill>
                <a:latin typeface="Arial" charset="0"/>
                <a:cs typeface="Arial" charset="0"/>
              </a:rPr>
              <a:t>п</a:t>
            </a:r>
            <a:r>
              <a:rPr lang="ru-RU" sz="700" b="1" dirty="0" smtClean="0">
                <a:solidFill>
                  <a:srgbClr val="C00000"/>
                </a:solidFill>
                <a:latin typeface="Arial" charset="0"/>
                <a:cs typeface="Arial" charset="0"/>
              </a:rPr>
              <a:t>. Мин-Куш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300" b="1" dirty="0" smtClean="0">
              <a:solidFill>
                <a:srgbClr val="C00000"/>
              </a:solidFill>
              <a:latin typeface="Arial" charset="0"/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b="1" dirty="0" smtClean="0">
                <a:solidFill>
                  <a:srgbClr val="C00000"/>
                </a:solidFill>
                <a:latin typeface="Arial" charset="0"/>
                <a:cs typeface="Arial" charset="0"/>
              </a:rPr>
              <a:t>Организация системы АСКРО в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b="1" dirty="0" smtClean="0">
                <a:solidFill>
                  <a:srgbClr val="C00000"/>
                </a:solidFill>
                <a:latin typeface="Arial" charset="0"/>
                <a:cs typeface="Arial" charset="0"/>
              </a:rPr>
              <a:t>п. Мин-Куш</a:t>
            </a:r>
            <a:endParaRPr lang="ru-RU" sz="700" b="1" dirty="0">
              <a:solidFill>
                <a:srgbClr val="C00000"/>
              </a:solidFill>
              <a:latin typeface="Arial" charset="0"/>
              <a:cs typeface="Arial" charset="0"/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7364251" y="4954549"/>
            <a:ext cx="1125350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b="1" dirty="0" smtClean="0">
                <a:solidFill>
                  <a:srgbClr val="C00000"/>
                </a:solidFill>
                <a:latin typeface="Arial" charset="0"/>
                <a:cs typeface="Arial" charset="0"/>
              </a:rPr>
              <a:t>Начало перевозок отходов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b="1" dirty="0" smtClean="0">
                <a:solidFill>
                  <a:srgbClr val="C00000"/>
                </a:solidFill>
                <a:latin typeface="Arial" charset="0"/>
                <a:cs typeface="Arial" charset="0"/>
              </a:rPr>
              <a:t>с «Талды-Булак»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300" b="1" dirty="0">
              <a:solidFill>
                <a:srgbClr val="C00000"/>
              </a:solidFill>
              <a:latin typeface="Arial" charset="0"/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b="1" dirty="0" smtClean="0">
                <a:solidFill>
                  <a:schemeClr val="tx2">
                    <a:lumMod val="50000"/>
                  </a:schemeClr>
                </a:solidFill>
                <a:latin typeface="Arial" charset="0"/>
                <a:cs typeface="Arial" charset="0"/>
              </a:rPr>
              <a:t>Завершение рекультивации «КАК»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8676761" y="4956674"/>
            <a:ext cx="1125350" cy="569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b="1" dirty="0" smtClean="0">
                <a:solidFill>
                  <a:srgbClr val="C00000"/>
                </a:solidFill>
                <a:latin typeface="Arial" charset="0"/>
                <a:cs typeface="Arial" charset="0"/>
              </a:rPr>
              <a:t>Начало перевозок с «Туюк-Суу»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300" b="1" dirty="0">
              <a:solidFill>
                <a:srgbClr val="C00000"/>
              </a:solidFill>
              <a:latin typeface="Arial" charset="0"/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b="1" dirty="0" smtClean="0">
                <a:solidFill>
                  <a:schemeClr val="tx2">
                    <a:lumMod val="50000"/>
                  </a:schemeClr>
                </a:solidFill>
                <a:latin typeface="Arial" charset="0"/>
                <a:cs typeface="Arial" charset="0"/>
              </a:rPr>
              <a:t>Полная ликвидация «Талды-Булак»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10012663" y="4942688"/>
            <a:ext cx="1125350" cy="8463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b="1" dirty="0" smtClean="0">
                <a:solidFill>
                  <a:schemeClr val="tx2">
                    <a:lumMod val="50000"/>
                  </a:schemeClr>
                </a:solidFill>
                <a:latin typeface="Arial" charset="0"/>
                <a:cs typeface="Arial" charset="0"/>
              </a:rPr>
              <a:t>Хвостохранилище «КАК» передано в эксплуатацию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700" b="1" dirty="0">
              <a:solidFill>
                <a:srgbClr val="C00000"/>
              </a:solidFill>
              <a:latin typeface="Arial" charset="0"/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700" b="1" dirty="0" smtClean="0">
                <a:solidFill>
                  <a:srgbClr val="C00000"/>
                </a:solidFill>
                <a:latin typeface="Arial" charset="0"/>
                <a:cs typeface="Arial" charset="0"/>
              </a:rPr>
              <a:t>С «Туюк-Суу» вывезено 60% отходов</a:t>
            </a:r>
          </a:p>
        </p:txBody>
      </p:sp>
      <p:sp>
        <p:nvSpPr>
          <p:cNvPr id="73" name="Скругленный прямоугольник 72"/>
          <p:cNvSpPr/>
          <p:nvPr/>
        </p:nvSpPr>
        <p:spPr>
          <a:xfrm>
            <a:off x="8638421" y="5636160"/>
            <a:ext cx="1119221" cy="351651"/>
          </a:xfrm>
          <a:prstGeom prst="roundRect">
            <a:avLst>
              <a:gd name="adj" fmla="val 7087"/>
            </a:avLst>
          </a:prstGeom>
          <a:solidFill>
            <a:schemeClr val="accent2">
              <a:lumMod val="75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ctr" fontAlgn="base">
              <a:spcBef>
                <a:spcPts val="554"/>
              </a:spcBef>
              <a:spcAft>
                <a:spcPct val="0"/>
              </a:spcAft>
            </a:pPr>
            <a:r>
              <a:rPr lang="ru-RU" sz="800" b="1" dirty="0" smtClean="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Опережающие темпы работ</a:t>
            </a:r>
            <a:endParaRPr lang="ru-RU" sz="800" b="1" dirty="0">
              <a:solidFill>
                <a:schemeClr val="bg1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74" name="Группа 73">
            <a:extLst>
              <a:ext uri="{FF2B5EF4-FFF2-40B4-BE49-F238E27FC236}">
                <a16:creationId xmlns:a16="http://schemas.microsoft.com/office/drawing/2014/main" id="{0E8C24CF-92D5-542B-A76F-F7030D4DEF37}"/>
              </a:ext>
            </a:extLst>
          </p:cNvPr>
          <p:cNvGrpSpPr/>
          <p:nvPr/>
        </p:nvGrpSpPr>
        <p:grpSpPr>
          <a:xfrm>
            <a:off x="8532761" y="5510300"/>
            <a:ext cx="288000" cy="288000"/>
            <a:chOff x="2049691" y="4628105"/>
            <a:chExt cx="432000" cy="432000"/>
          </a:xfrm>
        </p:grpSpPr>
        <p:sp>
          <p:nvSpPr>
            <p:cNvPr id="75" name="Овал 74">
              <a:extLst>
                <a:ext uri="{FF2B5EF4-FFF2-40B4-BE49-F238E27FC236}">
                  <a16:creationId xmlns:a16="http://schemas.microsoft.com/office/drawing/2014/main" id="{DD7D1857-2284-E3E7-F6D4-A2BB10E2DFF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49691" y="4628105"/>
              <a:ext cx="432000" cy="43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6" name="Рисунок 77">
              <a:extLst>
                <a:ext uri="{FF2B5EF4-FFF2-40B4-BE49-F238E27FC236}">
                  <a16:creationId xmlns:a16="http://schemas.microsoft.com/office/drawing/2014/main" id="{01C861BD-21A0-D8E0-5E2D-42266D1D5B76}"/>
                </a:ext>
              </a:extLst>
            </p:cNvPr>
            <p:cNvSpPr/>
            <p:nvPr/>
          </p:nvSpPr>
          <p:spPr>
            <a:xfrm>
              <a:off x="2085691" y="4664105"/>
              <a:ext cx="359999" cy="360000"/>
            </a:xfrm>
            <a:custGeom>
              <a:avLst/>
              <a:gdLst>
                <a:gd name="connsiteX0" fmla="*/ 180000 w 359999"/>
                <a:gd name="connsiteY0" fmla="*/ 0 h 360000"/>
                <a:gd name="connsiteX1" fmla="*/ 0 w 359999"/>
                <a:gd name="connsiteY1" fmla="*/ 180000 h 360000"/>
                <a:gd name="connsiteX2" fmla="*/ 180000 w 359999"/>
                <a:gd name="connsiteY2" fmla="*/ 360000 h 360000"/>
                <a:gd name="connsiteX3" fmla="*/ 360000 w 359999"/>
                <a:gd name="connsiteY3" fmla="*/ 180000 h 360000"/>
                <a:gd name="connsiteX4" fmla="*/ 180000 w 359999"/>
                <a:gd name="connsiteY4" fmla="*/ 0 h 360000"/>
                <a:gd name="connsiteX5" fmla="*/ 169925 w 359999"/>
                <a:gd name="connsiteY5" fmla="*/ 62718 h 360000"/>
                <a:gd name="connsiteX6" fmla="*/ 180000 w 359999"/>
                <a:gd name="connsiteY6" fmla="*/ 52643 h 360000"/>
                <a:gd name="connsiteX7" fmla="*/ 190075 w 359999"/>
                <a:gd name="connsiteY7" fmla="*/ 62718 h 360000"/>
                <a:gd name="connsiteX8" fmla="*/ 190075 w 359999"/>
                <a:gd name="connsiteY8" fmla="*/ 233409 h 360000"/>
                <a:gd name="connsiteX9" fmla="*/ 180000 w 359999"/>
                <a:gd name="connsiteY9" fmla="*/ 243484 h 360000"/>
                <a:gd name="connsiteX10" fmla="*/ 169925 w 359999"/>
                <a:gd name="connsiteY10" fmla="*/ 233409 h 360000"/>
                <a:gd name="connsiteX11" fmla="*/ 180000 w 359999"/>
                <a:gd name="connsiteY11" fmla="*/ 307007 h 360000"/>
                <a:gd name="connsiteX12" fmla="*/ 169455 w 359999"/>
                <a:gd name="connsiteY12" fmla="*/ 296463 h 360000"/>
                <a:gd name="connsiteX13" fmla="*/ 180000 w 359999"/>
                <a:gd name="connsiteY13" fmla="*/ 285918 h 360000"/>
                <a:gd name="connsiteX14" fmla="*/ 190545 w 359999"/>
                <a:gd name="connsiteY14" fmla="*/ 296463 h 360000"/>
                <a:gd name="connsiteX15" fmla="*/ 180000 w 359999"/>
                <a:gd name="connsiteY15" fmla="*/ 307007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9999" h="360000">
                  <a:moveTo>
                    <a:pt x="180000" y="0"/>
                  </a:moveTo>
                  <a:cubicBezTo>
                    <a:pt x="80589" y="0"/>
                    <a:pt x="0" y="80589"/>
                    <a:pt x="0" y="180000"/>
                  </a:cubicBezTo>
                  <a:cubicBezTo>
                    <a:pt x="0" y="279411"/>
                    <a:pt x="80589" y="360000"/>
                    <a:pt x="180000" y="360000"/>
                  </a:cubicBezTo>
                  <a:cubicBezTo>
                    <a:pt x="279411" y="360000"/>
                    <a:pt x="360000" y="279411"/>
                    <a:pt x="360000" y="180000"/>
                  </a:cubicBezTo>
                  <a:cubicBezTo>
                    <a:pt x="360000" y="80589"/>
                    <a:pt x="279411" y="0"/>
                    <a:pt x="180000" y="0"/>
                  </a:cubicBezTo>
                  <a:close/>
                  <a:moveTo>
                    <a:pt x="169925" y="62718"/>
                  </a:moveTo>
                  <a:cubicBezTo>
                    <a:pt x="169925" y="57154"/>
                    <a:pt x="174436" y="52643"/>
                    <a:pt x="180000" y="52643"/>
                  </a:cubicBezTo>
                  <a:cubicBezTo>
                    <a:pt x="185564" y="52643"/>
                    <a:pt x="190075" y="57154"/>
                    <a:pt x="190075" y="62718"/>
                  </a:cubicBezTo>
                  <a:lnTo>
                    <a:pt x="190075" y="233409"/>
                  </a:lnTo>
                  <a:cubicBezTo>
                    <a:pt x="190075" y="238973"/>
                    <a:pt x="185564" y="243484"/>
                    <a:pt x="180000" y="243484"/>
                  </a:cubicBezTo>
                  <a:cubicBezTo>
                    <a:pt x="174436" y="243484"/>
                    <a:pt x="169925" y="238973"/>
                    <a:pt x="169925" y="233409"/>
                  </a:cubicBezTo>
                  <a:close/>
                  <a:moveTo>
                    <a:pt x="180000" y="307007"/>
                  </a:moveTo>
                  <a:cubicBezTo>
                    <a:pt x="174177" y="307007"/>
                    <a:pt x="169455" y="302286"/>
                    <a:pt x="169455" y="296463"/>
                  </a:cubicBezTo>
                  <a:cubicBezTo>
                    <a:pt x="169455" y="290640"/>
                    <a:pt x="174177" y="285918"/>
                    <a:pt x="180000" y="285918"/>
                  </a:cubicBezTo>
                  <a:cubicBezTo>
                    <a:pt x="185823" y="285918"/>
                    <a:pt x="190545" y="290640"/>
                    <a:pt x="190545" y="296463"/>
                  </a:cubicBezTo>
                  <a:cubicBezTo>
                    <a:pt x="190545" y="302286"/>
                    <a:pt x="185823" y="307007"/>
                    <a:pt x="180000" y="307007"/>
                  </a:cubicBezTo>
                  <a:close/>
                </a:path>
              </a:pathLst>
            </a:custGeom>
            <a:solidFill>
              <a:schemeClr val="bg2"/>
            </a:solidFill>
            <a:ln w="13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78" name="TextBox 77">
            <a:extLst>
              <a:ext uri="{FF2B5EF4-FFF2-40B4-BE49-F238E27FC236}">
                <a16:creationId xmlns:a16="http://schemas.microsoft.com/office/drawing/2014/main" id="{8153394D-A68F-2885-48CA-C7E9ACF4F6FB}"/>
              </a:ext>
            </a:extLst>
          </p:cNvPr>
          <p:cNvSpPr txBox="1"/>
          <p:nvPr/>
        </p:nvSpPr>
        <p:spPr>
          <a:xfrm>
            <a:off x="6917418" y="5984000"/>
            <a:ext cx="1403782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defTabSz="914348"/>
            <a:r>
              <a:rPr lang="ru-RU" sz="1400" b="1" dirty="0" smtClean="0">
                <a:gradFill flip="none" rotWithShape="1">
                  <a:gsLst>
                    <a:gs pos="0">
                      <a:schemeClr val="accent3"/>
                    </a:gs>
                    <a:gs pos="97000">
                      <a:schemeClr val="accent1"/>
                    </a:gs>
                  </a:gsLst>
                  <a:lin ang="5400000" scaled="1"/>
                  <a:tileRect/>
                </a:gradFill>
                <a:latin typeface="Arial" panose="020B0604020202020204" pitchFamily="34" charset="0"/>
                <a:cs typeface="Arial" panose="020B0604020202020204" pitchFamily="34" charset="0"/>
              </a:rPr>
              <a:t>590 </a:t>
            </a:r>
            <a:r>
              <a:rPr lang="ru-RU" sz="1400" b="1" dirty="0">
                <a:gradFill flip="none" rotWithShape="1">
                  <a:gsLst>
                    <a:gs pos="0">
                      <a:schemeClr val="accent3"/>
                    </a:gs>
                    <a:gs pos="97000">
                      <a:schemeClr val="accent1"/>
                    </a:gs>
                  </a:gsLst>
                  <a:lin ang="5400000" scaled="1"/>
                  <a:tileRect/>
                </a:gradFill>
                <a:latin typeface="Arial" panose="020B0604020202020204" pitchFamily="34" charset="0"/>
                <a:cs typeface="Arial" panose="020B0604020202020204" pitchFamily="34" charset="0"/>
              </a:rPr>
              <a:t>млн руб.  </a:t>
            </a:r>
          </a:p>
        </p:txBody>
      </p:sp>
      <p:grpSp>
        <p:nvGrpSpPr>
          <p:cNvPr id="79" name="Группа 78">
            <a:extLst>
              <a:ext uri="{FF2B5EF4-FFF2-40B4-BE49-F238E27FC236}">
                <a16:creationId xmlns:a16="http://schemas.microsoft.com/office/drawing/2014/main" id="{EE791CF7-44E7-6F88-ED1C-41547D623387}"/>
              </a:ext>
            </a:extLst>
          </p:cNvPr>
          <p:cNvGrpSpPr/>
          <p:nvPr/>
        </p:nvGrpSpPr>
        <p:grpSpPr>
          <a:xfrm>
            <a:off x="10267241" y="4673212"/>
            <a:ext cx="288000" cy="288000"/>
            <a:chOff x="3148873" y="2062146"/>
            <a:chExt cx="432000" cy="432000"/>
          </a:xfrm>
        </p:grpSpPr>
        <p:sp>
          <p:nvSpPr>
            <p:cNvPr id="80" name="Овал 79">
              <a:extLst>
                <a:ext uri="{FF2B5EF4-FFF2-40B4-BE49-F238E27FC236}">
                  <a16:creationId xmlns:a16="http://schemas.microsoft.com/office/drawing/2014/main" id="{17EA75CF-9B8B-BC1C-C2A9-C2AB654CD00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48873" y="2062146"/>
              <a:ext cx="432000" cy="43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1" name="Рисунок 10">
              <a:extLst>
                <a:ext uri="{FF2B5EF4-FFF2-40B4-BE49-F238E27FC236}">
                  <a16:creationId xmlns:a16="http://schemas.microsoft.com/office/drawing/2014/main" id="{3DA6BAF0-0E1E-6586-44DD-6C57D228FCC3}"/>
                </a:ext>
              </a:extLst>
            </p:cNvPr>
            <p:cNvSpPr/>
            <p:nvPr/>
          </p:nvSpPr>
          <p:spPr>
            <a:xfrm>
              <a:off x="3184873" y="2098146"/>
              <a:ext cx="359999" cy="360000"/>
            </a:xfrm>
            <a:custGeom>
              <a:avLst/>
              <a:gdLst>
                <a:gd name="connsiteX0" fmla="*/ 180000 w 359999"/>
                <a:gd name="connsiteY0" fmla="*/ 0 h 360000"/>
                <a:gd name="connsiteX1" fmla="*/ 0 w 359999"/>
                <a:gd name="connsiteY1" fmla="*/ 180000 h 360000"/>
                <a:gd name="connsiteX2" fmla="*/ 180000 w 359999"/>
                <a:gd name="connsiteY2" fmla="*/ 360000 h 360000"/>
                <a:gd name="connsiteX3" fmla="*/ 360000 w 359999"/>
                <a:gd name="connsiteY3" fmla="*/ 180000 h 360000"/>
                <a:gd name="connsiteX4" fmla="*/ 180000 w 359999"/>
                <a:gd name="connsiteY4" fmla="*/ 0 h 360000"/>
                <a:gd name="connsiteX5" fmla="*/ 285676 w 359999"/>
                <a:gd name="connsiteY5" fmla="*/ 126094 h 360000"/>
                <a:gd name="connsiteX6" fmla="*/ 158924 w 359999"/>
                <a:gd name="connsiteY6" fmla="*/ 252846 h 360000"/>
                <a:gd name="connsiteX7" fmla="*/ 144715 w 359999"/>
                <a:gd name="connsiteY7" fmla="*/ 252876 h 360000"/>
                <a:gd name="connsiteX8" fmla="*/ 144685 w 359999"/>
                <a:gd name="connsiteY8" fmla="*/ 252846 h 360000"/>
                <a:gd name="connsiteX9" fmla="*/ 57990 w 359999"/>
                <a:gd name="connsiteY9" fmla="*/ 166151 h 360000"/>
                <a:gd name="connsiteX10" fmla="*/ 58244 w 359999"/>
                <a:gd name="connsiteY10" fmla="*/ 151905 h 360000"/>
                <a:gd name="connsiteX11" fmla="*/ 72242 w 359999"/>
                <a:gd name="connsiteY11" fmla="*/ 151912 h 360000"/>
                <a:gd name="connsiteX12" fmla="*/ 151791 w 359999"/>
                <a:gd name="connsiteY12" fmla="*/ 231475 h 360000"/>
                <a:gd name="connsiteX13" fmla="*/ 271424 w 359999"/>
                <a:gd name="connsiteY13" fmla="*/ 111922 h 360000"/>
                <a:gd name="connsiteX14" fmla="*/ 285663 w 359999"/>
                <a:gd name="connsiteY14" fmla="*/ 111420 h 360000"/>
                <a:gd name="connsiteX15" fmla="*/ 286165 w 359999"/>
                <a:gd name="connsiteY15" fmla="*/ 125659 h 360000"/>
                <a:gd name="connsiteX16" fmla="*/ 285663 w 359999"/>
                <a:gd name="connsiteY16" fmla="*/ 126161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59999" h="360000">
                  <a:moveTo>
                    <a:pt x="180000" y="0"/>
                  </a:moveTo>
                  <a:cubicBezTo>
                    <a:pt x="80589" y="0"/>
                    <a:pt x="0" y="80589"/>
                    <a:pt x="0" y="180000"/>
                  </a:cubicBezTo>
                  <a:cubicBezTo>
                    <a:pt x="0" y="279411"/>
                    <a:pt x="80589" y="360000"/>
                    <a:pt x="180000" y="360000"/>
                  </a:cubicBezTo>
                  <a:cubicBezTo>
                    <a:pt x="279411" y="360000"/>
                    <a:pt x="360000" y="279411"/>
                    <a:pt x="360000" y="180000"/>
                  </a:cubicBezTo>
                  <a:cubicBezTo>
                    <a:pt x="360000" y="80589"/>
                    <a:pt x="279411" y="0"/>
                    <a:pt x="180000" y="0"/>
                  </a:cubicBezTo>
                  <a:close/>
                  <a:moveTo>
                    <a:pt x="285676" y="126094"/>
                  </a:moveTo>
                  <a:lnTo>
                    <a:pt x="158924" y="252846"/>
                  </a:lnTo>
                  <a:cubicBezTo>
                    <a:pt x="155008" y="256778"/>
                    <a:pt x="148646" y="256792"/>
                    <a:pt x="144715" y="252876"/>
                  </a:cubicBezTo>
                  <a:cubicBezTo>
                    <a:pt x="144704" y="252865"/>
                    <a:pt x="144694" y="252856"/>
                    <a:pt x="144685" y="252846"/>
                  </a:cubicBezTo>
                  <a:lnTo>
                    <a:pt x="57990" y="166151"/>
                  </a:lnTo>
                  <a:cubicBezTo>
                    <a:pt x="54126" y="162146"/>
                    <a:pt x="54240" y="155769"/>
                    <a:pt x="58244" y="151905"/>
                  </a:cubicBezTo>
                  <a:cubicBezTo>
                    <a:pt x="62150" y="148136"/>
                    <a:pt x="68339" y="148139"/>
                    <a:pt x="72242" y="151912"/>
                  </a:cubicBezTo>
                  <a:lnTo>
                    <a:pt x="151791" y="231475"/>
                  </a:lnTo>
                  <a:lnTo>
                    <a:pt x="271424" y="111922"/>
                  </a:lnTo>
                  <a:cubicBezTo>
                    <a:pt x="275217" y="107852"/>
                    <a:pt x="281593" y="107627"/>
                    <a:pt x="285663" y="111420"/>
                  </a:cubicBezTo>
                  <a:cubicBezTo>
                    <a:pt x="289733" y="115213"/>
                    <a:pt x="289959" y="121588"/>
                    <a:pt x="286165" y="125659"/>
                  </a:cubicBezTo>
                  <a:cubicBezTo>
                    <a:pt x="286004" y="125832"/>
                    <a:pt x="285836" y="126000"/>
                    <a:pt x="285663" y="126161"/>
                  </a:cubicBezTo>
                  <a:close/>
                </a:path>
              </a:pathLst>
            </a:custGeom>
            <a:solidFill>
              <a:schemeClr val="tx2"/>
            </a:solidFill>
            <a:ln w="13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2" name="Группа 81">
            <a:extLst>
              <a:ext uri="{FF2B5EF4-FFF2-40B4-BE49-F238E27FC236}">
                <a16:creationId xmlns:a16="http://schemas.microsoft.com/office/drawing/2014/main" id="{EE791CF7-44E7-6F88-ED1C-41547D623387}"/>
              </a:ext>
            </a:extLst>
          </p:cNvPr>
          <p:cNvGrpSpPr/>
          <p:nvPr/>
        </p:nvGrpSpPr>
        <p:grpSpPr>
          <a:xfrm>
            <a:off x="7647546" y="4682308"/>
            <a:ext cx="288000" cy="288000"/>
            <a:chOff x="3148873" y="2062146"/>
            <a:chExt cx="432000" cy="432000"/>
          </a:xfrm>
        </p:grpSpPr>
        <p:sp>
          <p:nvSpPr>
            <p:cNvPr id="83" name="Овал 82">
              <a:extLst>
                <a:ext uri="{FF2B5EF4-FFF2-40B4-BE49-F238E27FC236}">
                  <a16:creationId xmlns:a16="http://schemas.microsoft.com/office/drawing/2014/main" id="{17EA75CF-9B8B-BC1C-C2A9-C2AB654CD00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48873" y="2062146"/>
              <a:ext cx="432000" cy="43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4" name="Рисунок 10">
              <a:extLst>
                <a:ext uri="{FF2B5EF4-FFF2-40B4-BE49-F238E27FC236}">
                  <a16:creationId xmlns:a16="http://schemas.microsoft.com/office/drawing/2014/main" id="{3DA6BAF0-0E1E-6586-44DD-6C57D228FCC3}"/>
                </a:ext>
              </a:extLst>
            </p:cNvPr>
            <p:cNvSpPr/>
            <p:nvPr/>
          </p:nvSpPr>
          <p:spPr>
            <a:xfrm>
              <a:off x="3184873" y="2098146"/>
              <a:ext cx="359999" cy="360000"/>
            </a:xfrm>
            <a:custGeom>
              <a:avLst/>
              <a:gdLst>
                <a:gd name="connsiteX0" fmla="*/ 180000 w 359999"/>
                <a:gd name="connsiteY0" fmla="*/ 0 h 360000"/>
                <a:gd name="connsiteX1" fmla="*/ 0 w 359999"/>
                <a:gd name="connsiteY1" fmla="*/ 180000 h 360000"/>
                <a:gd name="connsiteX2" fmla="*/ 180000 w 359999"/>
                <a:gd name="connsiteY2" fmla="*/ 360000 h 360000"/>
                <a:gd name="connsiteX3" fmla="*/ 360000 w 359999"/>
                <a:gd name="connsiteY3" fmla="*/ 180000 h 360000"/>
                <a:gd name="connsiteX4" fmla="*/ 180000 w 359999"/>
                <a:gd name="connsiteY4" fmla="*/ 0 h 360000"/>
                <a:gd name="connsiteX5" fmla="*/ 285676 w 359999"/>
                <a:gd name="connsiteY5" fmla="*/ 126094 h 360000"/>
                <a:gd name="connsiteX6" fmla="*/ 158924 w 359999"/>
                <a:gd name="connsiteY6" fmla="*/ 252846 h 360000"/>
                <a:gd name="connsiteX7" fmla="*/ 144715 w 359999"/>
                <a:gd name="connsiteY7" fmla="*/ 252876 h 360000"/>
                <a:gd name="connsiteX8" fmla="*/ 144685 w 359999"/>
                <a:gd name="connsiteY8" fmla="*/ 252846 h 360000"/>
                <a:gd name="connsiteX9" fmla="*/ 57990 w 359999"/>
                <a:gd name="connsiteY9" fmla="*/ 166151 h 360000"/>
                <a:gd name="connsiteX10" fmla="*/ 58244 w 359999"/>
                <a:gd name="connsiteY10" fmla="*/ 151905 h 360000"/>
                <a:gd name="connsiteX11" fmla="*/ 72242 w 359999"/>
                <a:gd name="connsiteY11" fmla="*/ 151912 h 360000"/>
                <a:gd name="connsiteX12" fmla="*/ 151791 w 359999"/>
                <a:gd name="connsiteY12" fmla="*/ 231475 h 360000"/>
                <a:gd name="connsiteX13" fmla="*/ 271424 w 359999"/>
                <a:gd name="connsiteY13" fmla="*/ 111922 h 360000"/>
                <a:gd name="connsiteX14" fmla="*/ 285663 w 359999"/>
                <a:gd name="connsiteY14" fmla="*/ 111420 h 360000"/>
                <a:gd name="connsiteX15" fmla="*/ 286165 w 359999"/>
                <a:gd name="connsiteY15" fmla="*/ 125659 h 360000"/>
                <a:gd name="connsiteX16" fmla="*/ 285663 w 359999"/>
                <a:gd name="connsiteY16" fmla="*/ 126161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59999" h="360000">
                  <a:moveTo>
                    <a:pt x="180000" y="0"/>
                  </a:moveTo>
                  <a:cubicBezTo>
                    <a:pt x="80589" y="0"/>
                    <a:pt x="0" y="80589"/>
                    <a:pt x="0" y="180000"/>
                  </a:cubicBezTo>
                  <a:cubicBezTo>
                    <a:pt x="0" y="279411"/>
                    <a:pt x="80589" y="360000"/>
                    <a:pt x="180000" y="360000"/>
                  </a:cubicBezTo>
                  <a:cubicBezTo>
                    <a:pt x="279411" y="360000"/>
                    <a:pt x="360000" y="279411"/>
                    <a:pt x="360000" y="180000"/>
                  </a:cubicBezTo>
                  <a:cubicBezTo>
                    <a:pt x="360000" y="80589"/>
                    <a:pt x="279411" y="0"/>
                    <a:pt x="180000" y="0"/>
                  </a:cubicBezTo>
                  <a:close/>
                  <a:moveTo>
                    <a:pt x="285676" y="126094"/>
                  </a:moveTo>
                  <a:lnTo>
                    <a:pt x="158924" y="252846"/>
                  </a:lnTo>
                  <a:cubicBezTo>
                    <a:pt x="155008" y="256778"/>
                    <a:pt x="148646" y="256792"/>
                    <a:pt x="144715" y="252876"/>
                  </a:cubicBezTo>
                  <a:cubicBezTo>
                    <a:pt x="144704" y="252865"/>
                    <a:pt x="144694" y="252856"/>
                    <a:pt x="144685" y="252846"/>
                  </a:cubicBezTo>
                  <a:lnTo>
                    <a:pt x="57990" y="166151"/>
                  </a:lnTo>
                  <a:cubicBezTo>
                    <a:pt x="54126" y="162146"/>
                    <a:pt x="54240" y="155769"/>
                    <a:pt x="58244" y="151905"/>
                  </a:cubicBezTo>
                  <a:cubicBezTo>
                    <a:pt x="62150" y="148136"/>
                    <a:pt x="68339" y="148139"/>
                    <a:pt x="72242" y="151912"/>
                  </a:cubicBezTo>
                  <a:lnTo>
                    <a:pt x="151791" y="231475"/>
                  </a:lnTo>
                  <a:lnTo>
                    <a:pt x="271424" y="111922"/>
                  </a:lnTo>
                  <a:cubicBezTo>
                    <a:pt x="275217" y="107852"/>
                    <a:pt x="281593" y="107627"/>
                    <a:pt x="285663" y="111420"/>
                  </a:cubicBezTo>
                  <a:cubicBezTo>
                    <a:pt x="289733" y="115213"/>
                    <a:pt x="289959" y="121588"/>
                    <a:pt x="286165" y="125659"/>
                  </a:cubicBezTo>
                  <a:cubicBezTo>
                    <a:pt x="286004" y="125832"/>
                    <a:pt x="285836" y="126000"/>
                    <a:pt x="285663" y="126161"/>
                  </a:cubicBezTo>
                  <a:close/>
                </a:path>
              </a:pathLst>
            </a:custGeom>
            <a:solidFill>
              <a:schemeClr val="tx2"/>
            </a:solidFill>
            <a:ln w="13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5" name="Группа 84">
            <a:extLst>
              <a:ext uri="{FF2B5EF4-FFF2-40B4-BE49-F238E27FC236}">
                <a16:creationId xmlns:a16="http://schemas.microsoft.com/office/drawing/2014/main" id="{EE791CF7-44E7-6F88-ED1C-41547D623387}"/>
              </a:ext>
            </a:extLst>
          </p:cNvPr>
          <p:cNvGrpSpPr/>
          <p:nvPr/>
        </p:nvGrpSpPr>
        <p:grpSpPr>
          <a:xfrm>
            <a:off x="9003317" y="4697212"/>
            <a:ext cx="288000" cy="288000"/>
            <a:chOff x="3148873" y="2062146"/>
            <a:chExt cx="432000" cy="432000"/>
          </a:xfrm>
        </p:grpSpPr>
        <p:sp>
          <p:nvSpPr>
            <p:cNvPr id="86" name="Овал 85">
              <a:extLst>
                <a:ext uri="{FF2B5EF4-FFF2-40B4-BE49-F238E27FC236}">
                  <a16:creationId xmlns:a16="http://schemas.microsoft.com/office/drawing/2014/main" id="{17EA75CF-9B8B-BC1C-C2A9-C2AB654CD00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48873" y="2062146"/>
              <a:ext cx="432000" cy="43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7" name="Рисунок 10">
              <a:extLst>
                <a:ext uri="{FF2B5EF4-FFF2-40B4-BE49-F238E27FC236}">
                  <a16:creationId xmlns:a16="http://schemas.microsoft.com/office/drawing/2014/main" id="{3DA6BAF0-0E1E-6586-44DD-6C57D228FCC3}"/>
                </a:ext>
              </a:extLst>
            </p:cNvPr>
            <p:cNvSpPr/>
            <p:nvPr/>
          </p:nvSpPr>
          <p:spPr>
            <a:xfrm>
              <a:off x="3184873" y="2098146"/>
              <a:ext cx="359999" cy="360000"/>
            </a:xfrm>
            <a:custGeom>
              <a:avLst/>
              <a:gdLst>
                <a:gd name="connsiteX0" fmla="*/ 180000 w 359999"/>
                <a:gd name="connsiteY0" fmla="*/ 0 h 360000"/>
                <a:gd name="connsiteX1" fmla="*/ 0 w 359999"/>
                <a:gd name="connsiteY1" fmla="*/ 180000 h 360000"/>
                <a:gd name="connsiteX2" fmla="*/ 180000 w 359999"/>
                <a:gd name="connsiteY2" fmla="*/ 360000 h 360000"/>
                <a:gd name="connsiteX3" fmla="*/ 360000 w 359999"/>
                <a:gd name="connsiteY3" fmla="*/ 180000 h 360000"/>
                <a:gd name="connsiteX4" fmla="*/ 180000 w 359999"/>
                <a:gd name="connsiteY4" fmla="*/ 0 h 360000"/>
                <a:gd name="connsiteX5" fmla="*/ 285676 w 359999"/>
                <a:gd name="connsiteY5" fmla="*/ 126094 h 360000"/>
                <a:gd name="connsiteX6" fmla="*/ 158924 w 359999"/>
                <a:gd name="connsiteY6" fmla="*/ 252846 h 360000"/>
                <a:gd name="connsiteX7" fmla="*/ 144715 w 359999"/>
                <a:gd name="connsiteY7" fmla="*/ 252876 h 360000"/>
                <a:gd name="connsiteX8" fmla="*/ 144685 w 359999"/>
                <a:gd name="connsiteY8" fmla="*/ 252846 h 360000"/>
                <a:gd name="connsiteX9" fmla="*/ 57990 w 359999"/>
                <a:gd name="connsiteY9" fmla="*/ 166151 h 360000"/>
                <a:gd name="connsiteX10" fmla="*/ 58244 w 359999"/>
                <a:gd name="connsiteY10" fmla="*/ 151905 h 360000"/>
                <a:gd name="connsiteX11" fmla="*/ 72242 w 359999"/>
                <a:gd name="connsiteY11" fmla="*/ 151912 h 360000"/>
                <a:gd name="connsiteX12" fmla="*/ 151791 w 359999"/>
                <a:gd name="connsiteY12" fmla="*/ 231475 h 360000"/>
                <a:gd name="connsiteX13" fmla="*/ 271424 w 359999"/>
                <a:gd name="connsiteY13" fmla="*/ 111922 h 360000"/>
                <a:gd name="connsiteX14" fmla="*/ 285663 w 359999"/>
                <a:gd name="connsiteY14" fmla="*/ 111420 h 360000"/>
                <a:gd name="connsiteX15" fmla="*/ 286165 w 359999"/>
                <a:gd name="connsiteY15" fmla="*/ 125659 h 360000"/>
                <a:gd name="connsiteX16" fmla="*/ 285663 w 359999"/>
                <a:gd name="connsiteY16" fmla="*/ 126161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59999" h="360000">
                  <a:moveTo>
                    <a:pt x="180000" y="0"/>
                  </a:moveTo>
                  <a:cubicBezTo>
                    <a:pt x="80589" y="0"/>
                    <a:pt x="0" y="80589"/>
                    <a:pt x="0" y="180000"/>
                  </a:cubicBezTo>
                  <a:cubicBezTo>
                    <a:pt x="0" y="279411"/>
                    <a:pt x="80589" y="360000"/>
                    <a:pt x="180000" y="360000"/>
                  </a:cubicBezTo>
                  <a:cubicBezTo>
                    <a:pt x="279411" y="360000"/>
                    <a:pt x="360000" y="279411"/>
                    <a:pt x="360000" y="180000"/>
                  </a:cubicBezTo>
                  <a:cubicBezTo>
                    <a:pt x="360000" y="80589"/>
                    <a:pt x="279411" y="0"/>
                    <a:pt x="180000" y="0"/>
                  </a:cubicBezTo>
                  <a:close/>
                  <a:moveTo>
                    <a:pt x="285676" y="126094"/>
                  </a:moveTo>
                  <a:lnTo>
                    <a:pt x="158924" y="252846"/>
                  </a:lnTo>
                  <a:cubicBezTo>
                    <a:pt x="155008" y="256778"/>
                    <a:pt x="148646" y="256792"/>
                    <a:pt x="144715" y="252876"/>
                  </a:cubicBezTo>
                  <a:cubicBezTo>
                    <a:pt x="144704" y="252865"/>
                    <a:pt x="144694" y="252856"/>
                    <a:pt x="144685" y="252846"/>
                  </a:cubicBezTo>
                  <a:lnTo>
                    <a:pt x="57990" y="166151"/>
                  </a:lnTo>
                  <a:cubicBezTo>
                    <a:pt x="54126" y="162146"/>
                    <a:pt x="54240" y="155769"/>
                    <a:pt x="58244" y="151905"/>
                  </a:cubicBezTo>
                  <a:cubicBezTo>
                    <a:pt x="62150" y="148136"/>
                    <a:pt x="68339" y="148139"/>
                    <a:pt x="72242" y="151912"/>
                  </a:cubicBezTo>
                  <a:lnTo>
                    <a:pt x="151791" y="231475"/>
                  </a:lnTo>
                  <a:lnTo>
                    <a:pt x="271424" y="111922"/>
                  </a:lnTo>
                  <a:cubicBezTo>
                    <a:pt x="275217" y="107852"/>
                    <a:pt x="281593" y="107627"/>
                    <a:pt x="285663" y="111420"/>
                  </a:cubicBezTo>
                  <a:cubicBezTo>
                    <a:pt x="289733" y="115213"/>
                    <a:pt x="289959" y="121588"/>
                    <a:pt x="286165" y="125659"/>
                  </a:cubicBezTo>
                  <a:cubicBezTo>
                    <a:pt x="286004" y="125832"/>
                    <a:pt x="285836" y="126000"/>
                    <a:pt x="285663" y="126161"/>
                  </a:cubicBezTo>
                  <a:close/>
                </a:path>
              </a:pathLst>
            </a:custGeom>
            <a:solidFill>
              <a:schemeClr val="tx2"/>
            </a:solidFill>
            <a:ln w="13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8407852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9" grpId="0"/>
      <p:bldP spid="110" grpId="0"/>
      <p:bldP spid="118" grpId="0"/>
      <p:bldP spid="119" grpId="0"/>
      <p:bldP spid="120" grpId="0"/>
      <p:bldP spid="121" grpId="0"/>
      <p:bldP spid="122" grpId="0"/>
      <p:bldP spid="12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4" name="Straight Connector 19">
            <a:extLst>
              <a:ext uri="{FF2B5EF4-FFF2-40B4-BE49-F238E27FC236}">
                <a16:creationId xmlns:a16="http://schemas.microsoft.com/office/drawing/2014/main" id="{875B88E0-C80E-1CAF-EBE2-D624ECBEC844}"/>
              </a:ext>
            </a:extLst>
          </p:cNvPr>
          <p:cNvCxnSpPr>
            <a:cxnSpLocks/>
          </p:cNvCxnSpPr>
          <p:nvPr/>
        </p:nvCxnSpPr>
        <p:spPr>
          <a:xfrm flipH="1">
            <a:off x="796751" y="3054396"/>
            <a:ext cx="10440000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Прямая соединительная линия 104">
            <a:extLst>
              <a:ext uri="{FF2B5EF4-FFF2-40B4-BE49-F238E27FC236}">
                <a16:creationId xmlns:a16="http://schemas.microsoft.com/office/drawing/2014/main" id="{AF9D5F74-0CC6-2356-476D-326EC46952E3}"/>
              </a:ext>
            </a:extLst>
          </p:cNvPr>
          <p:cNvCxnSpPr>
            <a:cxnSpLocks/>
          </p:cNvCxnSpPr>
          <p:nvPr/>
        </p:nvCxnSpPr>
        <p:spPr>
          <a:xfrm rot="5400000">
            <a:off x="5951464" y="1034976"/>
            <a:ext cx="0" cy="10440000"/>
          </a:xfrm>
          <a:prstGeom prst="line">
            <a:avLst/>
          </a:prstGeom>
          <a:ln w="1270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1873716" y="6086287"/>
            <a:ext cx="1304396" cy="307777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defTabSz="914348"/>
            <a:r>
              <a:rPr lang="ru-RU" sz="1400" b="1" dirty="0">
                <a:gradFill flip="none" rotWithShape="1">
                  <a:gsLst>
                    <a:gs pos="0">
                      <a:schemeClr val="accent3"/>
                    </a:gs>
                    <a:gs pos="97000">
                      <a:schemeClr val="accent1"/>
                    </a:gs>
                  </a:gsLst>
                  <a:lin ang="5400000" scaled="1"/>
                  <a:tileRect/>
                </a:gradFill>
                <a:latin typeface="Arial" panose="020B0604020202020204" pitchFamily="34" charset="0"/>
                <a:cs typeface="Arial" panose="020B0604020202020204" pitchFamily="34" charset="0"/>
              </a:rPr>
              <a:t>329 млн руб</a:t>
            </a:r>
            <a:r>
              <a:rPr lang="ru-RU" sz="1400" b="1" dirty="0" smtClean="0">
                <a:gradFill flip="none" rotWithShape="1">
                  <a:gsLst>
                    <a:gs pos="0">
                      <a:schemeClr val="accent3"/>
                    </a:gs>
                    <a:gs pos="97000">
                      <a:schemeClr val="accent1"/>
                    </a:gs>
                  </a:gsLst>
                  <a:lin ang="5400000" scaled="1"/>
                  <a:tileRect/>
                </a:gra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400" b="1" dirty="0">
              <a:gradFill flip="none" rotWithShape="1">
                <a:gsLst>
                  <a:gs pos="0">
                    <a:schemeClr val="accent3"/>
                  </a:gs>
                  <a:gs pos="97000">
                    <a:schemeClr val="accent1"/>
                  </a:gs>
                </a:gsLst>
                <a:lin ang="5400000" scaled="1"/>
                <a:tileRect/>
              </a:gra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Прямоугольник 105">
            <a:extLst>
              <a:ext uri="{FF2B5EF4-FFF2-40B4-BE49-F238E27FC236}">
                <a16:creationId xmlns:a16="http://schemas.microsoft.com/office/drawing/2014/main" id="{A60BB3FA-52F2-87EF-48F5-5D6FCCA1E1BF}"/>
              </a:ext>
            </a:extLst>
          </p:cNvPr>
          <p:cNvSpPr/>
          <p:nvPr/>
        </p:nvSpPr>
        <p:spPr>
          <a:xfrm>
            <a:off x="10929036" y="5541907"/>
            <a:ext cx="1177815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124" name="Straight Connector 19">
            <a:extLst>
              <a:ext uri="{FF2B5EF4-FFF2-40B4-BE49-F238E27FC236}">
                <a16:creationId xmlns:a16="http://schemas.microsoft.com/office/drawing/2014/main" id="{698A48BB-520B-5B30-D06F-6CC128AAE3CD}"/>
              </a:ext>
            </a:extLst>
          </p:cNvPr>
          <p:cNvCxnSpPr>
            <a:cxnSpLocks/>
          </p:cNvCxnSpPr>
          <p:nvPr/>
        </p:nvCxnSpPr>
        <p:spPr>
          <a:xfrm flipH="1">
            <a:off x="789317" y="5109152"/>
            <a:ext cx="9072000" cy="0"/>
          </a:xfrm>
          <a:prstGeom prst="line">
            <a:avLst/>
          </a:prstGeom>
          <a:ln w="1905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TextBox 120">
            <a:extLst>
              <a:ext uri="{FF2B5EF4-FFF2-40B4-BE49-F238E27FC236}">
                <a16:creationId xmlns:a16="http://schemas.microsoft.com/office/drawing/2014/main" id="{AB6DE88A-EF5B-BAF0-0E0D-04AF85B3E952}"/>
              </a:ext>
            </a:extLst>
          </p:cNvPr>
          <p:cNvSpPr txBox="1"/>
          <p:nvPr/>
        </p:nvSpPr>
        <p:spPr>
          <a:xfrm>
            <a:off x="5654893" y="1016707"/>
            <a:ext cx="438132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48"/>
            <a:r>
              <a:rPr lang="ru-RU" sz="1100" dirty="0">
                <a:gradFill flip="none" rotWithShape="1">
                  <a:gsLst>
                    <a:gs pos="0">
                      <a:schemeClr val="accent3"/>
                    </a:gs>
                    <a:gs pos="97000">
                      <a:schemeClr val="accent1"/>
                    </a:gs>
                  </a:gsLst>
                  <a:lin ang="5400000" scaled="1"/>
                  <a:tileRect/>
                </a:gradFill>
                <a:latin typeface="Arial" panose="020B0604020202020204" pitchFamily="34" charset="0"/>
                <a:cs typeface="Arial" panose="020B0604020202020204" pitchFamily="34" charset="0"/>
              </a:rPr>
              <a:t>Разработка рабочей документации;</a:t>
            </a:r>
          </a:p>
          <a:p>
            <a:pPr defTabSz="914348"/>
            <a:r>
              <a:rPr lang="ru-RU" sz="1100" dirty="0">
                <a:gradFill flip="none" rotWithShape="1">
                  <a:gsLst>
                    <a:gs pos="0">
                      <a:schemeClr val="accent3"/>
                    </a:gs>
                    <a:gs pos="97000">
                      <a:schemeClr val="accent1"/>
                    </a:gs>
                  </a:gsLst>
                  <a:lin ang="5400000" scaled="1"/>
                  <a:tileRect/>
                </a:gradFill>
                <a:latin typeface="Arial" panose="020B0604020202020204" pitchFamily="34" charset="0"/>
                <a:cs typeface="Arial" panose="020B0604020202020204" pitchFamily="34" charset="0"/>
              </a:rPr>
              <a:t>Инженерная подготовка (строительные площадки, автодороги);</a:t>
            </a:r>
          </a:p>
          <a:p>
            <a:pPr defTabSz="914348"/>
            <a:r>
              <a:rPr lang="ru-RU" sz="1100" dirty="0">
                <a:gradFill flip="none" rotWithShape="1">
                  <a:gsLst>
                    <a:gs pos="0">
                      <a:schemeClr val="accent3"/>
                    </a:gs>
                    <a:gs pos="97000">
                      <a:schemeClr val="accent1"/>
                    </a:gs>
                  </a:gsLst>
                  <a:lin ang="5400000" scaled="1"/>
                  <a:tileRect/>
                </a:gradFill>
                <a:latin typeface="Arial" panose="020B0604020202020204" pitchFamily="34" charset="0"/>
                <a:cs typeface="Arial" panose="020B0604020202020204" pitchFamily="34" charset="0"/>
              </a:rPr>
              <a:t>Перенос ЛЭП;</a:t>
            </a:r>
          </a:p>
          <a:p>
            <a:pPr defTabSz="914348"/>
            <a:r>
              <a:rPr lang="ru-RU" sz="1100" dirty="0">
                <a:gradFill flip="none" rotWithShape="1">
                  <a:gsLst>
                    <a:gs pos="0">
                      <a:schemeClr val="accent3"/>
                    </a:gs>
                    <a:gs pos="97000">
                      <a:schemeClr val="accent1"/>
                    </a:gs>
                  </a:gsLst>
                  <a:lin ang="5400000" scaled="1"/>
                  <a:tileRect/>
                </a:gradFill>
                <a:latin typeface="Arial" panose="020B0604020202020204" pitchFamily="34" charset="0"/>
                <a:cs typeface="Arial" panose="020B0604020202020204" pitchFamily="34" charset="0"/>
              </a:rPr>
              <a:t>Рекультивация отвалов ФБР, 4-х карт </a:t>
            </a:r>
            <a:r>
              <a:rPr lang="ru-RU" sz="1100" dirty="0" err="1">
                <a:gradFill flip="none" rotWithShape="1">
                  <a:gsLst>
                    <a:gs pos="0">
                      <a:schemeClr val="accent3"/>
                    </a:gs>
                    <a:gs pos="97000">
                      <a:schemeClr val="accent1"/>
                    </a:gs>
                  </a:gsLst>
                  <a:lin ang="5400000" scaled="1"/>
                  <a:tileRect/>
                </a:gradFill>
                <a:latin typeface="Arial" panose="020B0604020202020204" pitchFamily="34" charset="0"/>
                <a:cs typeface="Arial" panose="020B0604020202020204" pitchFamily="34" charset="0"/>
              </a:rPr>
              <a:t>хвостохранилищ</a:t>
            </a:r>
            <a:r>
              <a:rPr lang="ru-RU" sz="1100" dirty="0">
                <a:gradFill flip="none" rotWithShape="1">
                  <a:gsLst>
                    <a:gs pos="0">
                      <a:schemeClr val="accent3"/>
                    </a:gs>
                    <a:gs pos="97000">
                      <a:schemeClr val="accent1"/>
                    </a:gs>
                  </a:gsLst>
                  <a:lin ang="5400000" scaled="1"/>
                  <a:tileRect/>
                </a:gra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5B6F0CB8-A882-3DD4-6E63-F4EB2C1CC50F}"/>
              </a:ext>
            </a:extLst>
          </p:cNvPr>
          <p:cNvSpPr/>
          <p:nvPr/>
        </p:nvSpPr>
        <p:spPr>
          <a:xfrm>
            <a:off x="1205112" y="5312497"/>
            <a:ext cx="1539662" cy="5134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800" b="1" dirty="0">
                <a:latin typeface="Arial" charset="0"/>
                <a:cs typeface="Arial" charset="0"/>
              </a:rPr>
              <a:t>Рабочая документация</a:t>
            </a:r>
          </a:p>
          <a:p>
            <a:pPr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800" b="1" dirty="0">
                <a:latin typeface="Arial" charset="0"/>
                <a:cs typeface="Arial" charset="0"/>
              </a:rPr>
              <a:t>Перенос ЛЭП</a:t>
            </a:r>
          </a:p>
          <a:p>
            <a:pPr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800" b="1" dirty="0">
                <a:latin typeface="Arial" charset="0"/>
                <a:cs typeface="Arial" charset="0"/>
              </a:rPr>
              <a:t>Строительная площадка</a:t>
            </a:r>
            <a:endParaRPr lang="ru-RU" sz="800" b="1" dirty="0">
              <a:latin typeface="Arial"/>
              <a:cs typeface="Arial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706586F1-6130-974A-4A34-8162DF4BFFF2}"/>
              </a:ext>
            </a:extLst>
          </p:cNvPr>
          <p:cNvSpPr/>
          <p:nvPr/>
        </p:nvSpPr>
        <p:spPr>
          <a:xfrm>
            <a:off x="2870350" y="5326607"/>
            <a:ext cx="1682134" cy="653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800" b="1" dirty="0">
                <a:solidFill>
                  <a:schemeClr val="tx2">
                    <a:lumMod val="50000"/>
                  </a:schemeClr>
                </a:solidFill>
                <a:latin typeface="Arial" charset="0"/>
                <a:cs typeface="Arial" charset="0"/>
              </a:rPr>
              <a:t>Завершение работ на ФБР</a:t>
            </a:r>
          </a:p>
          <a:p>
            <a:pPr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800" b="1" dirty="0">
                <a:latin typeface="Arial" charset="0"/>
                <a:cs typeface="Arial" charset="0"/>
              </a:rPr>
              <a:t>Передислокация на </a:t>
            </a:r>
            <a:r>
              <a:rPr lang="ru-RU" sz="800" b="1" dirty="0" smtClean="0">
                <a:latin typeface="Arial" charset="0"/>
                <a:cs typeface="Arial" charset="0"/>
              </a:rPr>
              <a:t>хвостохранилище</a:t>
            </a:r>
            <a:endParaRPr lang="ru-RU" sz="800" b="1" dirty="0">
              <a:latin typeface="Arial" charset="0"/>
              <a:cs typeface="Arial" charset="0"/>
            </a:endParaRPr>
          </a:p>
          <a:p>
            <a:pPr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800" b="1" dirty="0">
                <a:latin typeface="Arial" charset="0"/>
                <a:cs typeface="Arial" charset="0"/>
              </a:rPr>
              <a:t>Работы на </a:t>
            </a:r>
            <a:r>
              <a:rPr lang="ru-RU" sz="800" b="1" dirty="0" smtClean="0">
                <a:latin typeface="Arial" charset="0"/>
                <a:cs typeface="Arial" charset="0"/>
              </a:rPr>
              <a:t>х-х </a:t>
            </a:r>
            <a:r>
              <a:rPr lang="ru-RU" sz="800" b="1" dirty="0">
                <a:latin typeface="Arial" charset="0"/>
                <a:cs typeface="Arial" charset="0"/>
              </a:rPr>
              <a:t>2</a:t>
            </a:r>
            <a:r>
              <a:rPr lang="ru-RU" sz="800" b="1" dirty="0" smtClean="0">
                <a:latin typeface="Arial" charset="0"/>
                <a:cs typeface="Arial" charset="0"/>
              </a:rPr>
              <a:t>-й </a:t>
            </a:r>
            <a:r>
              <a:rPr lang="ru-RU" sz="800" b="1" dirty="0">
                <a:latin typeface="Arial" charset="0"/>
                <a:cs typeface="Arial" charset="0"/>
              </a:rPr>
              <a:t>очереди</a:t>
            </a:r>
          </a:p>
        </p:txBody>
      </p:sp>
      <p:sp>
        <p:nvSpPr>
          <p:cNvPr id="68" name="Прямоугольник 67">
            <a:extLst>
              <a:ext uri="{FF2B5EF4-FFF2-40B4-BE49-F238E27FC236}">
                <a16:creationId xmlns:a16="http://schemas.microsoft.com/office/drawing/2014/main" id="{98CF08DC-C7DC-4236-89C0-3EC242835743}"/>
              </a:ext>
            </a:extLst>
          </p:cNvPr>
          <p:cNvSpPr/>
          <p:nvPr/>
        </p:nvSpPr>
        <p:spPr>
          <a:xfrm>
            <a:off x="6622532" y="5310078"/>
            <a:ext cx="1446133" cy="5134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800" b="1" dirty="0">
                <a:latin typeface="Arial" charset="0"/>
                <a:cs typeface="Arial" charset="0"/>
              </a:rPr>
              <a:t>Рекультивация </a:t>
            </a:r>
            <a:r>
              <a:rPr lang="ru-RU" sz="800" b="1" dirty="0" smtClean="0">
                <a:latin typeface="Arial" charset="0"/>
                <a:cs typeface="Arial" charset="0"/>
              </a:rPr>
              <a:t>1</a:t>
            </a:r>
            <a:r>
              <a:rPr lang="ru-RU" sz="800" b="1" dirty="0">
                <a:latin typeface="Arial" charset="0"/>
                <a:cs typeface="Arial" charset="0"/>
              </a:rPr>
              <a:t>, 3, 4-й </a:t>
            </a:r>
            <a:r>
              <a:rPr lang="ru-RU" sz="800" b="1" dirty="0" smtClean="0">
                <a:latin typeface="Arial" charset="0"/>
                <a:cs typeface="Arial" charset="0"/>
              </a:rPr>
              <a:t>очередей хвостохранилища</a:t>
            </a:r>
            <a:endParaRPr lang="ru-RU" sz="800" b="1" dirty="0">
              <a:latin typeface="Arial" charset="0"/>
              <a:cs typeface="Arial" charset="0"/>
            </a:endParaRPr>
          </a:p>
        </p:txBody>
      </p:sp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id="{C99F15C8-57EC-4A75-9E47-73FEC0ED8A4B}"/>
              </a:ext>
            </a:extLst>
          </p:cNvPr>
          <p:cNvSpPr/>
          <p:nvPr/>
        </p:nvSpPr>
        <p:spPr>
          <a:xfrm>
            <a:off x="8510059" y="5292586"/>
            <a:ext cx="1553344" cy="5134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800" b="1" dirty="0" smtClean="0">
                <a:solidFill>
                  <a:schemeClr val="tx2">
                    <a:lumMod val="50000"/>
                  </a:schemeClr>
                </a:solidFill>
                <a:latin typeface="Arial" charset="0"/>
                <a:cs typeface="Arial" charset="0"/>
              </a:rPr>
              <a:t>Полное завершение работ.</a:t>
            </a:r>
          </a:p>
          <a:p>
            <a:pPr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800" b="1" dirty="0" smtClean="0">
                <a:solidFill>
                  <a:schemeClr val="tx2">
                    <a:lumMod val="50000"/>
                  </a:schemeClr>
                </a:solidFill>
                <a:latin typeface="Arial" charset="0"/>
                <a:cs typeface="Arial" charset="0"/>
              </a:rPr>
              <a:t>Передача в эксплуатацию</a:t>
            </a:r>
            <a:endParaRPr lang="ru-RU" sz="800" b="1" dirty="0">
              <a:solidFill>
                <a:schemeClr val="tx2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id="{98CF08DC-C7DC-4236-89C0-3EC242835743}"/>
              </a:ext>
            </a:extLst>
          </p:cNvPr>
          <p:cNvSpPr/>
          <p:nvPr/>
        </p:nvSpPr>
        <p:spPr>
          <a:xfrm>
            <a:off x="5031965" y="5319747"/>
            <a:ext cx="1349082" cy="5134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800" b="1" dirty="0" smtClean="0">
                <a:latin typeface="Arial" charset="0"/>
                <a:cs typeface="Arial" charset="0"/>
              </a:rPr>
              <a:t>Рекультивация 2-й очереди хвостохранилища</a:t>
            </a:r>
            <a:endParaRPr lang="ru-RU" sz="800" b="1" dirty="0">
              <a:latin typeface="Arial" charset="0"/>
              <a:cs typeface="Arial" charset="0"/>
            </a:endParaRPr>
          </a:p>
        </p:txBody>
      </p:sp>
      <p:cxnSp>
        <p:nvCxnSpPr>
          <p:cNvPr id="97" name="Прямая соединительная линия 96">
            <a:extLst>
              <a:ext uri="{FF2B5EF4-FFF2-40B4-BE49-F238E27FC236}">
                <a16:creationId xmlns:a16="http://schemas.microsoft.com/office/drawing/2014/main" id="{AF9D5F74-0CC6-2356-476D-326EC46952E3}"/>
              </a:ext>
            </a:extLst>
          </p:cNvPr>
          <p:cNvCxnSpPr>
            <a:cxnSpLocks/>
          </p:cNvCxnSpPr>
          <p:nvPr/>
        </p:nvCxnSpPr>
        <p:spPr>
          <a:xfrm rot="5400000">
            <a:off x="6016751" y="-1034580"/>
            <a:ext cx="0" cy="1044000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Прямоугольник 47"/>
          <p:cNvSpPr/>
          <p:nvPr/>
        </p:nvSpPr>
        <p:spPr>
          <a:xfrm>
            <a:off x="1314027" y="3275882"/>
            <a:ext cx="1457124" cy="7001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ts val="300"/>
              </a:spcAft>
            </a:pP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Рабочая </a:t>
            </a:r>
            <a:r>
              <a:rPr lang="ru-RU" sz="8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документация</a:t>
            </a:r>
            <a:endParaRPr lang="ru-RU" sz="800" dirty="0">
              <a:solidFill>
                <a:schemeClr val="bg1">
                  <a:lumMod val="50000"/>
                </a:schemeClr>
              </a:solidFill>
              <a:latin typeface="Arial" charset="0"/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ts val="300"/>
              </a:spcAft>
            </a:pP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Перенос </a:t>
            </a:r>
            <a:r>
              <a:rPr lang="ru-RU" sz="8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ЛЭП</a:t>
            </a:r>
            <a:endParaRPr lang="ru-RU" sz="800" dirty="0">
              <a:solidFill>
                <a:schemeClr val="bg1">
                  <a:lumMod val="50000"/>
                </a:schemeClr>
              </a:solidFill>
              <a:latin typeface="Arial" charset="0"/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ts val="300"/>
              </a:spcAft>
            </a:pP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Строительная площадка</a:t>
            </a:r>
            <a:endParaRPr lang="ru-RU" sz="800" dirty="0">
              <a:solidFill>
                <a:schemeClr val="bg1">
                  <a:lumMod val="50000"/>
                </a:schemeClr>
              </a:solidFill>
              <a:latin typeface="Arial"/>
              <a:cs typeface="Arial"/>
            </a:endParaRPr>
          </a:p>
          <a:p>
            <a:pPr fontAlgn="base">
              <a:spcBef>
                <a:spcPct val="0"/>
              </a:spcBef>
              <a:spcAft>
                <a:spcPts val="300"/>
              </a:spcAft>
            </a:pPr>
            <a:endParaRPr lang="ru-RU" sz="800" dirty="0">
              <a:solidFill>
                <a:schemeClr val="bg1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6604058" y="3292250"/>
            <a:ext cx="1154930" cy="3770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ts val="300"/>
              </a:spcAft>
            </a:pP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Работы на ХХ </a:t>
            </a:r>
          </a:p>
          <a:p>
            <a:pPr fontAlgn="base">
              <a:spcBef>
                <a:spcPct val="0"/>
              </a:spcBef>
              <a:spcAft>
                <a:spcPts val="300"/>
              </a:spcAft>
            </a:pP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2-й очереди</a:t>
            </a:r>
          </a:p>
        </p:txBody>
      </p:sp>
      <p:sp>
        <p:nvSpPr>
          <p:cNvPr id="66" name="Rectangle 20">
            <a:extLst>
              <a:ext uri="{FF2B5EF4-FFF2-40B4-BE49-F238E27FC236}">
                <a16:creationId xmlns:a16="http://schemas.microsoft.com/office/drawing/2014/main" id="{E0161FC4-FA61-4192-85E7-6F8E34F02288}"/>
              </a:ext>
            </a:extLst>
          </p:cNvPr>
          <p:cNvSpPr/>
          <p:nvPr/>
        </p:nvSpPr>
        <p:spPr>
          <a:xfrm>
            <a:off x="1528945" y="2635226"/>
            <a:ext cx="90922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cs typeface="Arial" charset="0"/>
              </a:rPr>
              <a:t>III </a:t>
            </a:r>
            <a:r>
              <a:rPr lang="ru-RU" sz="1000" b="1" dirty="0">
                <a:solidFill>
                  <a:schemeClr val="bg1">
                    <a:lumMod val="50000"/>
                  </a:schemeClr>
                </a:solidFill>
                <a:cs typeface="Arial" charset="0"/>
              </a:rPr>
              <a:t>кв. 2022 г</a:t>
            </a:r>
            <a:endParaRPr lang="en-US" sz="1000" b="1" dirty="0">
              <a:solidFill>
                <a:schemeClr val="bg1">
                  <a:lumMod val="50000"/>
                </a:schemeClr>
              </a:solidFill>
              <a:cs typeface="Arial" charset="0"/>
            </a:endParaRPr>
          </a:p>
        </p:txBody>
      </p:sp>
      <p:sp>
        <p:nvSpPr>
          <p:cNvPr id="67" name="Rectangle 20">
            <a:extLst>
              <a:ext uri="{FF2B5EF4-FFF2-40B4-BE49-F238E27FC236}">
                <a16:creationId xmlns:a16="http://schemas.microsoft.com/office/drawing/2014/main" id="{6E944AF5-D348-4642-9678-CFAC1610DB06}"/>
              </a:ext>
            </a:extLst>
          </p:cNvPr>
          <p:cNvSpPr/>
          <p:nvPr/>
        </p:nvSpPr>
        <p:spPr>
          <a:xfrm>
            <a:off x="8543741" y="2606568"/>
            <a:ext cx="90922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cs typeface="Arial" charset="0"/>
              </a:rPr>
              <a:t>III </a:t>
            </a:r>
            <a:r>
              <a:rPr lang="ru-RU" sz="1000" b="1" dirty="0">
                <a:solidFill>
                  <a:schemeClr val="bg1">
                    <a:lumMod val="50000"/>
                  </a:schemeClr>
                </a:solidFill>
                <a:cs typeface="Arial" charset="0"/>
              </a:rPr>
              <a:t>кв. 2023 г</a:t>
            </a:r>
            <a:endParaRPr lang="en-US" sz="1000" b="1" dirty="0">
              <a:solidFill>
                <a:schemeClr val="bg1">
                  <a:lumMod val="50000"/>
                </a:schemeClr>
              </a:solidFill>
              <a:cs typeface="Arial" charset="0"/>
            </a:endParaRPr>
          </a:p>
        </p:txBody>
      </p:sp>
      <p:sp>
        <p:nvSpPr>
          <p:cNvPr id="69" name="Rectangle 20">
            <a:extLst>
              <a:ext uri="{FF2B5EF4-FFF2-40B4-BE49-F238E27FC236}">
                <a16:creationId xmlns:a16="http://schemas.microsoft.com/office/drawing/2014/main" id="{7C6CB69D-5843-4D45-9931-88B93ACB707C}"/>
              </a:ext>
            </a:extLst>
          </p:cNvPr>
          <p:cNvSpPr/>
          <p:nvPr/>
        </p:nvSpPr>
        <p:spPr>
          <a:xfrm>
            <a:off x="3249992" y="2635226"/>
            <a:ext cx="92365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cs typeface="Arial" charset="0"/>
              </a:rPr>
              <a:t>IV </a:t>
            </a:r>
            <a:r>
              <a:rPr lang="ru-RU" sz="1000" b="1" dirty="0">
                <a:solidFill>
                  <a:schemeClr val="bg1">
                    <a:lumMod val="50000"/>
                  </a:schemeClr>
                </a:solidFill>
                <a:cs typeface="Arial" charset="0"/>
              </a:rPr>
              <a:t>кв. 2022 г</a:t>
            </a:r>
            <a:endParaRPr lang="en-US" sz="1000" b="1" dirty="0">
              <a:solidFill>
                <a:schemeClr val="bg1">
                  <a:lumMod val="50000"/>
                </a:schemeClr>
              </a:solidFill>
              <a:cs typeface="Arial" charset="0"/>
            </a:endParaRPr>
          </a:p>
        </p:txBody>
      </p:sp>
      <p:sp>
        <p:nvSpPr>
          <p:cNvPr id="79" name="Rectangle 20">
            <a:extLst>
              <a:ext uri="{FF2B5EF4-FFF2-40B4-BE49-F238E27FC236}">
                <a16:creationId xmlns:a16="http://schemas.microsoft.com/office/drawing/2014/main" id="{6387C0A5-5023-4E72-84EB-F88E037F74D1}"/>
              </a:ext>
            </a:extLst>
          </p:cNvPr>
          <p:cNvSpPr/>
          <p:nvPr/>
        </p:nvSpPr>
        <p:spPr>
          <a:xfrm>
            <a:off x="5112773" y="2637884"/>
            <a:ext cx="83869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cs typeface="Arial" charset="0"/>
              </a:rPr>
              <a:t>I </a:t>
            </a:r>
            <a:r>
              <a:rPr lang="ru-RU" sz="1000" b="1" dirty="0">
                <a:solidFill>
                  <a:schemeClr val="bg1">
                    <a:lumMod val="50000"/>
                  </a:schemeClr>
                </a:solidFill>
                <a:cs typeface="Arial" charset="0"/>
              </a:rPr>
              <a:t>кв. 2023 г</a:t>
            </a:r>
            <a:endParaRPr lang="en-US" sz="1000" b="1" dirty="0">
              <a:solidFill>
                <a:schemeClr val="bg1">
                  <a:lumMod val="50000"/>
                </a:schemeClr>
              </a:solidFill>
              <a:cs typeface="Arial" charset="0"/>
            </a:endParaRPr>
          </a:p>
        </p:txBody>
      </p:sp>
      <p:sp>
        <p:nvSpPr>
          <p:cNvPr id="81" name="Rectangle 20">
            <a:extLst>
              <a:ext uri="{FF2B5EF4-FFF2-40B4-BE49-F238E27FC236}">
                <a16:creationId xmlns:a16="http://schemas.microsoft.com/office/drawing/2014/main" id="{2204C189-CEDA-4F8E-B054-6D1C98FD9505}"/>
              </a:ext>
            </a:extLst>
          </p:cNvPr>
          <p:cNvSpPr/>
          <p:nvPr/>
        </p:nvSpPr>
        <p:spPr>
          <a:xfrm>
            <a:off x="6725346" y="2622472"/>
            <a:ext cx="87395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cs typeface="Arial" charset="0"/>
              </a:rPr>
              <a:t>II</a:t>
            </a:r>
            <a:r>
              <a:rPr lang="ru-RU" sz="1000" b="1" dirty="0">
                <a:solidFill>
                  <a:schemeClr val="bg1">
                    <a:lumMod val="50000"/>
                  </a:schemeClr>
                </a:solidFill>
                <a:cs typeface="Arial" charset="0"/>
              </a:rPr>
              <a:t> кв. 2023 г</a:t>
            </a:r>
            <a:endParaRPr lang="en-US" sz="1000" b="1" dirty="0">
              <a:solidFill>
                <a:schemeClr val="bg1">
                  <a:lumMod val="50000"/>
                </a:schemeClr>
              </a:solidFill>
              <a:cs typeface="Arial" charset="0"/>
            </a:endParaRPr>
          </a:p>
        </p:txBody>
      </p:sp>
      <p:sp>
        <p:nvSpPr>
          <p:cNvPr id="83" name="Rectangle 20">
            <a:extLst>
              <a:ext uri="{FF2B5EF4-FFF2-40B4-BE49-F238E27FC236}">
                <a16:creationId xmlns:a16="http://schemas.microsoft.com/office/drawing/2014/main" id="{656D98B6-4DE9-4B38-810B-CECCB87F97DF}"/>
              </a:ext>
            </a:extLst>
          </p:cNvPr>
          <p:cNvSpPr/>
          <p:nvPr/>
        </p:nvSpPr>
        <p:spPr>
          <a:xfrm>
            <a:off x="10270265" y="2614370"/>
            <a:ext cx="92365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cs typeface="Arial" charset="0"/>
              </a:rPr>
              <a:t>IV </a:t>
            </a:r>
            <a:r>
              <a:rPr lang="ru-RU" sz="1000" b="1" dirty="0">
                <a:solidFill>
                  <a:schemeClr val="bg1">
                    <a:lumMod val="50000"/>
                  </a:schemeClr>
                </a:solidFill>
                <a:cs typeface="Arial" charset="0"/>
              </a:rPr>
              <a:t>кв. 2023 г</a:t>
            </a:r>
            <a:endParaRPr lang="en-US" sz="1000" b="1" dirty="0">
              <a:solidFill>
                <a:schemeClr val="bg1">
                  <a:lumMod val="50000"/>
                </a:schemeClr>
              </a:solidFill>
              <a:cs typeface="Arial" charset="0"/>
            </a:endParaRPr>
          </a:p>
        </p:txBody>
      </p:sp>
      <p:sp>
        <p:nvSpPr>
          <p:cNvPr id="84" name="Прямоугольник 83">
            <a:extLst>
              <a:ext uri="{FF2B5EF4-FFF2-40B4-BE49-F238E27FC236}">
                <a16:creationId xmlns:a16="http://schemas.microsoft.com/office/drawing/2014/main" id="{F6DFFDF8-2607-46EC-BFE4-8B7553320905}"/>
              </a:ext>
            </a:extLst>
          </p:cNvPr>
          <p:cNvSpPr/>
          <p:nvPr/>
        </p:nvSpPr>
        <p:spPr>
          <a:xfrm>
            <a:off x="4817686" y="3285176"/>
            <a:ext cx="1410199" cy="5386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ts val="300"/>
              </a:spcAft>
            </a:pP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Завершение работ 2/3 </a:t>
            </a:r>
          </a:p>
          <a:p>
            <a:pPr fontAlgn="base">
              <a:spcBef>
                <a:spcPct val="0"/>
              </a:spcBef>
              <a:spcAft>
                <a:spcPts val="300"/>
              </a:spcAft>
            </a:pP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на ФБР.</a:t>
            </a:r>
          </a:p>
          <a:p>
            <a:pPr fontAlgn="base">
              <a:spcBef>
                <a:spcPct val="0"/>
              </a:spcBef>
              <a:spcAft>
                <a:spcPts val="300"/>
              </a:spcAft>
            </a:pP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Передислокация на </a:t>
            </a:r>
            <a:r>
              <a:rPr lang="ru-RU" sz="8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х-х.</a:t>
            </a:r>
            <a:endParaRPr lang="ru-RU" sz="800" dirty="0">
              <a:solidFill>
                <a:schemeClr val="bg1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85" name="Прямоугольник 84">
            <a:extLst>
              <a:ext uri="{FF2B5EF4-FFF2-40B4-BE49-F238E27FC236}">
                <a16:creationId xmlns:a16="http://schemas.microsoft.com/office/drawing/2014/main" id="{E0EA0F5A-EE0A-4885-92D0-6F60C4BCF652}"/>
              </a:ext>
            </a:extLst>
          </p:cNvPr>
          <p:cNvSpPr/>
          <p:nvPr/>
        </p:nvSpPr>
        <p:spPr>
          <a:xfrm>
            <a:off x="3195283" y="3285921"/>
            <a:ext cx="1154930" cy="3770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ts val="300"/>
              </a:spcAft>
            </a:pP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Рекультивация 1/3 </a:t>
            </a:r>
          </a:p>
          <a:p>
            <a:pPr fontAlgn="base">
              <a:spcBef>
                <a:spcPct val="0"/>
              </a:spcBef>
              <a:spcAft>
                <a:spcPts val="300"/>
              </a:spcAft>
            </a:pP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отвалов ФБР</a:t>
            </a:r>
          </a:p>
        </p:txBody>
      </p:sp>
      <p:sp>
        <p:nvSpPr>
          <p:cNvPr id="86" name="Прямоугольник 85">
            <a:extLst>
              <a:ext uri="{FF2B5EF4-FFF2-40B4-BE49-F238E27FC236}">
                <a16:creationId xmlns:a16="http://schemas.microsoft.com/office/drawing/2014/main" id="{98CF08DC-C7DC-4236-89C0-3EC242835743}"/>
              </a:ext>
            </a:extLst>
          </p:cNvPr>
          <p:cNvSpPr/>
          <p:nvPr/>
        </p:nvSpPr>
        <p:spPr>
          <a:xfrm>
            <a:off x="8460271" y="3285173"/>
            <a:ext cx="115493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ts val="300"/>
              </a:spcAft>
            </a:pP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Рекультивация </a:t>
            </a:r>
            <a:r>
              <a:rPr lang="ru-RU" sz="8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/>
            </a:r>
            <a:br>
              <a:rPr lang="ru-RU" sz="8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</a:br>
            <a:r>
              <a:rPr lang="ru-RU" sz="8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х-х 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3, 4-й очередей</a:t>
            </a:r>
          </a:p>
        </p:txBody>
      </p:sp>
      <p:sp>
        <p:nvSpPr>
          <p:cNvPr id="88" name="Прямоугольник 87">
            <a:extLst>
              <a:ext uri="{FF2B5EF4-FFF2-40B4-BE49-F238E27FC236}">
                <a16:creationId xmlns:a16="http://schemas.microsoft.com/office/drawing/2014/main" id="{C99F15C8-57EC-4A75-9E47-73FEC0ED8A4B}"/>
              </a:ext>
            </a:extLst>
          </p:cNvPr>
          <p:cNvSpPr/>
          <p:nvPr/>
        </p:nvSpPr>
        <p:spPr>
          <a:xfrm>
            <a:off x="10221829" y="3277746"/>
            <a:ext cx="1189586" cy="5386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ts val="300"/>
              </a:spcAft>
            </a:pP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Рекультивация</a:t>
            </a:r>
          </a:p>
          <a:p>
            <a:pPr fontAlgn="base">
              <a:spcBef>
                <a:spcPct val="0"/>
              </a:spcBef>
              <a:spcAft>
                <a:spcPts val="300"/>
              </a:spcAft>
            </a:pPr>
            <a:r>
              <a:rPr lang="ru-RU" sz="8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х-х 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1-й очереди.</a:t>
            </a:r>
          </a:p>
          <a:p>
            <a:pPr fontAlgn="base">
              <a:spcBef>
                <a:spcPct val="0"/>
              </a:spcBef>
              <a:spcAft>
                <a:spcPts val="300"/>
              </a:spcAft>
            </a:pP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Полное завершение.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7A554D7C-2321-493B-9AF8-BBAD839AFD16}"/>
              </a:ext>
            </a:extLst>
          </p:cNvPr>
          <p:cNvSpPr/>
          <p:nvPr/>
        </p:nvSpPr>
        <p:spPr>
          <a:xfrm>
            <a:off x="2277850" y="4052667"/>
            <a:ext cx="1198133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schemeClr val="bg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210 млн руб.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054357A2-51FB-4635-5F9B-AF8603B63668}"/>
              </a:ext>
            </a:extLst>
          </p:cNvPr>
          <p:cNvSpPr/>
          <p:nvPr/>
        </p:nvSpPr>
        <p:spPr>
          <a:xfrm>
            <a:off x="7411737" y="4050338"/>
            <a:ext cx="1283863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schemeClr val="bg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507,4 млн руб.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10063403" y="4809483"/>
            <a:ext cx="1119221" cy="567124"/>
          </a:xfrm>
          <a:prstGeom prst="roundRect">
            <a:avLst>
              <a:gd name="adj" fmla="val 2114"/>
            </a:avLst>
          </a:prstGeom>
          <a:solidFill>
            <a:schemeClr val="accent2">
              <a:lumMod val="75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ctr" fontAlgn="base">
              <a:spcBef>
                <a:spcPts val="554"/>
              </a:spcBef>
              <a:spcAft>
                <a:spcPct val="0"/>
              </a:spcAft>
            </a:pPr>
            <a:r>
              <a:rPr lang="ru-RU" sz="1000" b="1" dirty="0" smtClean="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Опережение </a:t>
            </a:r>
            <a:r>
              <a:rPr lang="ru-RU" sz="1000" b="1" dirty="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графика на </a:t>
            </a:r>
            <a:r>
              <a:rPr lang="ru-RU" sz="1000" dirty="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ru-RU" sz="1000" dirty="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1050" b="1" dirty="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4 МЕСЯЦА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24F03831-77EC-F8E1-1EB4-65FB2C35D3C4}"/>
              </a:ext>
            </a:extLst>
          </p:cNvPr>
          <p:cNvSpPr txBox="1"/>
          <p:nvPr/>
        </p:nvSpPr>
        <p:spPr>
          <a:xfrm>
            <a:off x="8492030" y="592479"/>
            <a:ext cx="184731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48"/>
            <a:endParaRPr lang="ru-RU" sz="2200" b="1" dirty="0">
              <a:gradFill flip="none" rotWithShape="1">
                <a:gsLst>
                  <a:gs pos="0">
                    <a:schemeClr val="accent3"/>
                  </a:gs>
                  <a:gs pos="97000">
                    <a:schemeClr val="accent1"/>
                  </a:gs>
                </a:gsLst>
                <a:lin ang="5400000" scaled="1"/>
                <a:tileRect/>
              </a:gra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2" name="Группа 101">
            <a:extLst>
              <a:ext uri="{FF2B5EF4-FFF2-40B4-BE49-F238E27FC236}">
                <a16:creationId xmlns:a16="http://schemas.microsoft.com/office/drawing/2014/main" id="{0E8C24CF-92D5-542B-A76F-F7030D4DEF37}"/>
              </a:ext>
            </a:extLst>
          </p:cNvPr>
          <p:cNvGrpSpPr/>
          <p:nvPr/>
        </p:nvGrpSpPr>
        <p:grpSpPr>
          <a:xfrm>
            <a:off x="9916221" y="4715167"/>
            <a:ext cx="288000" cy="288000"/>
            <a:chOff x="2049691" y="4628105"/>
            <a:chExt cx="432000" cy="432000"/>
          </a:xfrm>
        </p:grpSpPr>
        <p:sp>
          <p:nvSpPr>
            <p:cNvPr id="103" name="Овал 102">
              <a:extLst>
                <a:ext uri="{FF2B5EF4-FFF2-40B4-BE49-F238E27FC236}">
                  <a16:creationId xmlns:a16="http://schemas.microsoft.com/office/drawing/2014/main" id="{DD7D1857-2284-E3E7-F6D4-A2BB10E2DFF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49691" y="4628105"/>
              <a:ext cx="432000" cy="43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4" name="Рисунок 77">
              <a:extLst>
                <a:ext uri="{FF2B5EF4-FFF2-40B4-BE49-F238E27FC236}">
                  <a16:creationId xmlns:a16="http://schemas.microsoft.com/office/drawing/2014/main" id="{01C861BD-21A0-D8E0-5E2D-42266D1D5B76}"/>
                </a:ext>
              </a:extLst>
            </p:cNvPr>
            <p:cNvSpPr/>
            <p:nvPr/>
          </p:nvSpPr>
          <p:spPr>
            <a:xfrm>
              <a:off x="2085691" y="4664105"/>
              <a:ext cx="359999" cy="360000"/>
            </a:xfrm>
            <a:custGeom>
              <a:avLst/>
              <a:gdLst>
                <a:gd name="connsiteX0" fmla="*/ 180000 w 359999"/>
                <a:gd name="connsiteY0" fmla="*/ 0 h 360000"/>
                <a:gd name="connsiteX1" fmla="*/ 0 w 359999"/>
                <a:gd name="connsiteY1" fmla="*/ 180000 h 360000"/>
                <a:gd name="connsiteX2" fmla="*/ 180000 w 359999"/>
                <a:gd name="connsiteY2" fmla="*/ 360000 h 360000"/>
                <a:gd name="connsiteX3" fmla="*/ 360000 w 359999"/>
                <a:gd name="connsiteY3" fmla="*/ 180000 h 360000"/>
                <a:gd name="connsiteX4" fmla="*/ 180000 w 359999"/>
                <a:gd name="connsiteY4" fmla="*/ 0 h 360000"/>
                <a:gd name="connsiteX5" fmla="*/ 169925 w 359999"/>
                <a:gd name="connsiteY5" fmla="*/ 62718 h 360000"/>
                <a:gd name="connsiteX6" fmla="*/ 180000 w 359999"/>
                <a:gd name="connsiteY6" fmla="*/ 52643 h 360000"/>
                <a:gd name="connsiteX7" fmla="*/ 190075 w 359999"/>
                <a:gd name="connsiteY7" fmla="*/ 62718 h 360000"/>
                <a:gd name="connsiteX8" fmla="*/ 190075 w 359999"/>
                <a:gd name="connsiteY8" fmla="*/ 233409 h 360000"/>
                <a:gd name="connsiteX9" fmla="*/ 180000 w 359999"/>
                <a:gd name="connsiteY9" fmla="*/ 243484 h 360000"/>
                <a:gd name="connsiteX10" fmla="*/ 169925 w 359999"/>
                <a:gd name="connsiteY10" fmla="*/ 233409 h 360000"/>
                <a:gd name="connsiteX11" fmla="*/ 180000 w 359999"/>
                <a:gd name="connsiteY11" fmla="*/ 307007 h 360000"/>
                <a:gd name="connsiteX12" fmla="*/ 169455 w 359999"/>
                <a:gd name="connsiteY12" fmla="*/ 296463 h 360000"/>
                <a:gd name="connsiteX13" fmla="*/ 180000 w 359999"/>
                <a:gd name="connsiteY13" fmla="*/ 285918 h 360000"/>
                <a:gd name="connsiteX14" fmla="*/ 190545 w 359999"/>
                <a:gd name="connsiteY14" fmla="*/ 296463 h 360000"/>
                <a:gd name="connsiteX15" fmla="*/ 180000 w 359999"/>
                <a:gd name="connsiteY15" fmla="*/ 307007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9999" h="360000">
                  <a:moveTo>
                    <a:pt x="180000" y="0"/>
                  </a:moveTo>
                  <a:cubicBezTo>
                    <a:pt x="80589" y="0"/>
                    <a:pt x="0" y="80589"/>
                    <a:pt x="0" y="180000"/>
                  </a:cubicBezTo>
                  <a:cubicBezTo>
                    <a:pt x="0" y="279411"/>
                    <a:pt x="80589" y="360000"/>
                    <a:pt x="180000" y="360000"/>
                  </a:cubicBezTo>
                  <a:cubicBezTo>
                    <a:pt x="279411" y="360000"/>
                    <a:pt x="360000" y="279411"/>
                    <a:pt x="360000" y="180000"/>
                  </a:cubicBezTo>
                  <a:cubicBezTo>
                    <a:pt x="360000" y="80589"/>
                    <a:pt x="279411" y="0"/>
                    <a:pt x="180000" y="0"/>
                  </a:cubicBezTo>
                  <a:close/>
                  <a:moveTo>
                    <a:pt x="169925" y="62718"/>
                  </a:moveTo>
                  <a:cubicBezTo>
                    <a:pt x="169925" y="57154"/>
                    <a:pt x="174436" y="52643"/>
                    <a:pt x="180000" y="52643"/>
                  </a:cubicBezTo>
                  <a:cubicBezTo>
                    <a:pt x="185564" y="52643"/>
                    <a:pt x="190075" y="57154"/>
                    <a:pt x="190075" y="62718"/>
                  </a:cubicBezTo>
                  <a:lnTo>
                    <a:pt x="190075" y="233409"/>
                  </a:lnTo>
                  <a:cubicBezTo>
                    <a:pt x="190075" y="238973"/>
                    <a:pt x="185564" y="243484"/>
                    <a:pt x="180000" y="243484"/>
                  </a:cubicBezTo>
                  <a:cubicBezTo>
                    <a:pt x="174436" y="243484"/>
                    <a:pt x="169925" y="238973"/>
                    <a:pt x="169925" y="233409"/>
                  </a:cubicBezTo>
                  <a:close/>
                  <a:moveTo>
                    <a:pt x="180000" y="307007"/>
                  </a:moveTo>
                  <a:cubicBezTo>
                    <a:pt x="174177" y="307007"/>
                    <a:pt x="169455" y="302286"/>
                    <a:pt x="169455" y="296463"/>
                  </a:cubicBezTo>
                  <a:cubicBezTo>
                    <a:pt x="169455" y="290640"/>
                    <a:pt x="174177" y="285918"/>
                    <a:pt x="180000" y="285918"/>
                  </a:cubicBezTo>
                  <a:cubicBezTo>
                    <a:pt x="185823" y="285918"/>
                    <a:pt x="190545" y="290640"/>
                    <a:pt x="190545" y="296463"/>
                  </a:cubicBezTo>
                  <a:cubicBezTo>
                    <a:pt x="190545" y="302286"/>
                    <a:pt x="185823" y="307007"/>
                    <a:pt x="180000" y="307007"/>
                  </a:cubicBezTo>
                  <a:close/>
                </a:path>
              </a:pathLst>
            </a:custGeom>
            <a:solidFill>
              <a:schemeClr val="bg2"/>
            </a:solidFill>
            <a:ln w="13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16" name="Полилиния 115">
            <a:extLst>
              <a:ext uri="{FF2B5EF4-FFF2-40B4-BE49-F238E27FC236}">
                <a16:creationId xmlns:a16="http://schemas.microsoft.com/office/drawing/2014/main" id="{F3399F15-2272-D43C-AD76-0695536878C1}"/>
              </a:ext>
            </a:extLst>
          </p:cNvPr>
          <p:cNvSpPr/>
          <p:nvPr/>
        </p:nvSpPr>
        <p:spPr>
          <a:xfrm>
            <a:off x="10925143" y="157159"/>
            <a:ext cx="720000" cy="720000"/>
          </a:xfrm>
          <a:custGeom>
            <a:avLst/>
            <a:gdLst>
              <a:gd name="connsiteX0" fmla="*/ 70469 w 360606"/>
              <a:gd name="connsiteY0" fmla="*/ 240819 h 360583"/>
              <a:gd name="connsiteX1" fmla="*/ 176281 w 360606"/>
              <a:gd name="connsiteY1" fmla="*/ 247815 h 360583"/>
              <a:gd name="connsiteX2" fmla="*/ 225231 w 360606"/>
              <a:gd name="connsiteY2" fmla="*/ 252840 h 360583"/>
              <a:gd name="connsiteX3" fmla="*/ 201443 w 360606"/>
              <a:gd name="connsiteY3" fmla="*/ 359403 h 360583"/>
              <a:gd name="connsiteX4" fmla="*/ 110158 w 360606"/>
              <a:gd name="connsiteY4" fmla="*/ 346288 h 360583"/>
              <a:gd name="connsiteX5" fmla="*/ 70469 w 360606"/>
              <a:gd name="connsiteY5" fmla="*/ 240819 h 360583"/>
              <a:gd name="connsiteX6" fmla="*/ 360606 w 360606"/>
              <a:gd name="connsiteY6" fmla="*/ 195902 h 360583"/>
              <a:gd name="connsiteX7" fmla="*/ 337123 w 360606"/>
              <a:gd name="connsiteY7" fmla="*/ 270459 h 360583"/>
              <a:gd name="connsiteX8" fmla="*/ 210818 w 360606"/>
              <a:gd name="connsiteY8" fmla="*/ 358016 h 360583"/>
              <a:gd name="connsiteX9" fmla="*/ 233067 w 360606"/>
              <a:gd name="connsiteY9" fmla="*/ 258094 h 360583"/>
              <a:gd name="connsiteX10" fmla="*/ 287766 w 360606"/>
              <a:gd name="connsiteY10" fmla="*/ 253807 h 360583"/>
              <a:gd name="connsiteX11" fmla="*/ 360606 w 360606"/>
              <a:gd name="connsiteY11" fmla="*/ 195902 h 360583"/>
              <a:gd name="connsiteX12" fmla="*/ 180300 w 360606"/>
              <a:gd name="connsiteY12" fmla="*/ 142474 h 360583"/>
              <a:gd name="connsiteX13" fmla="*/ 180351 w 360606"/>
              <a:gd name="connsiteY13" fmla="*/ 142474 h 360583"/>
              <a:gd name="connsiteX14" fmla="*/ 218183 w 360606"/>
              <a:gd name="connsiteY14" fmla="*/ 180331 h 360583"/>
              <a:gd name="connsiteX15" fmla="*/ 180326 w 360606"/>
              <a:gd name="connsiteY15" fmla="*/ 218214 h 360583"/>
              <a:gd name="connsiteX16" fmla="*/ 142443 w 360606"/>
              <a:gd name="connsiteY16" fmla="*/ 180357 h 360583"/>
              <a:gd name="connsiteX17" fmla="*/ 180300 w 360606"/>
              <a:gd name="connsiteY17" fmla="*/ 142474 h 360583"/>
              <a:gd name="connsiteX18" fmla="*/ 11355 w 360606"/>
              <a:gd name="connsiteY18" fmla="*/ 117528 h 360583"/>
              <a:gd name="connsiteX19" fmla="*/ 86930 w 360606"/>
              <a:gd name="connsiteY19" fmla="*/ 186729 h 360583"/>
              <a:gd name="connsiteX20" fmla="*/ 63282 w 360606"/>
              <a:gd name="connsiteY20" fmla="*/ 236150 h 360583"/>
              <a:gd name="connsiteX21" fmla="*/ 77084 w 360606"/>
              <a:gd name="connsiteY21" fmla="*/ 328083 h 360583"/>
              <a:gd name="connsiteX22" fmla="*/ 24191 w 360606"/>
              <a:gd name="connsiteY22" fmla="*/ 270433 h 360583"/>
              <a:gd name="connsiteX23" fmla="*/ 11355 w 360606"/>
              <a:gd name="connsiteY23" fmla="*/ 117528 h 360583"/>
              <a:gd name="connsiteX24" fmla="*/ 325674 w 360606"/>
              <a:gd name="connsiteY24" fmla="*/ 72764 h 360583"/>
              <a:gd name="connsiteX25" fmla="*/ 359893 w 360606"/>
              <a:gd name="connsiteY25" fmla="*/ 158261 h 360583"/>
              <a:gd name="connsiteX26" fmla="*/ 288313 w 360606"/>
              <a:gd name="connsiteY26" fmla="*/ 245297 h 360583"/>
              <a:gd name="connsiteX27" fmla="*/ 241475 w 360606"/>
              <a:gd name="connsiteY27" fmla="*/ 150323 h 360583"/>
              <a:gd name="connsiteX28" fmla="*/ 221363 w 360606"/>
              <a:gd name="connsiteY28" fmla="*/ 105482 h 360583"/>
              <a:gd name="connsiteX29" fmla="*/ 325674 w 360606"/>
              <a:gd name="connsiteY29" fmla="*/ 72764 h 360583"/>
              <a:gd name="connsiteX30" fmla="*/ 100647 w 360606"/>
              <a:gd name="connsiteY30" fmla="*/ 25566 h 360583"/>
              <a:gd name="connsiteX31" fmla="*/ 183226 w 360606"/>
              <a:gd name="connsiteY31" fmla="*/ 54777 h 360583"/>
              <a:gd name="connsiteX32" fmla="*/ 124265 w 360606"/>
              <a:gd name="connsiteY32" fmla="*/ 142754 h 360583"/>
              <a:gd name="connsiteX33" fmla="*/ 95427 w 360606"/>
              <a:gd name="connsiteY33" fmla="*/ 182570 h 360583"/>
              <a:gd name="connsiteX34" fmla="*/ 14891 w 360606"/>
              <a:gd name="connsiteY34" fmla="*/ 108726 h 360583"/>
              <a:gd name="connsiteX35" fmla="*/ 71919 w 360606"/>
              <a:gd name="connsiteY35" fmla="*/ 36357 h 360583"/>
              <a:gd name="connsiteX36" fmla="*/ 100647 w 360606"/>
              <a:gd name="connsiteY36" fmla="*/ 25566 h 360583"/>
              <a:gd name="connsiteX37" fmla="*/ 180656 w 360606"/>
              <a:gd name="connsiteY37" fmla="*/ 0 h 360583"/>
              <a:gd name="connsiteX38" fmla="*/ 319746 w 360606"/>
              <a:gd name="connsiteY38" fmla="*/ 65309 h 360583"/>
              <a:gd name="connsiteX39" fmla="*/ 221897 w 360606"/>
              <a:gd name="connsiteY39" fmla="*/ 96055 h 360583"/>
              <a:gd name="connsiteX40" fmla="*/ 190846 w 360606"/>
              <a:gd name="connsiteY40" fmla="*/ 50934 h 360583"/>
              <a:gd name="connsiteX41" fmla="*/ 104204 w 360606"/>
              <a:gd name="connsiteY41" fmla="*/ 16906 h 360583"/>
              <a:gd name="connsiteX42" fmla="*/ 180656 w 360606"/>
              <a:gd name="connsiteY42" fmla="*/ 0 h 360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360606" h="360583">
                <a:moveTo>
                  <a:pt x="70469" y="240819"/>
                </a:moveTo>
                <a:cubicBezTo>
                  <a:pt x="97539" y="256199"/>
                  <a:pt x="138691" y="256364"/>
                  <a:pt x="176281" y="247815"/>
                </a:cubicBezTo>
                <a:cubicBezTo>
                  <a:pt x="206951" y="240819"/>
                  <a:pt x="220384" y="248490"/>
                  <a:pt x="225231" y="252840"/>
                </a:cubicBezTo>
                <a:cubicBezTo>
                  <a:pt x="187348" y="298444"/>
                  <a:pt x="197143" y="344583"/>
                  <a:pt x="201443" y="359403"/>
                </a:cubicBezTo>
                <a:cubicBezTo>
                  <a:pt x="170392" y="362961"/>
                  <a:pt x="138950" y="358442"/>
                  <a:pt x="110158" y="346288"/>
                </a:cubicBezTo>
                <a:cubicBezTo>
                  <a:pt x="71982" y="325934"/>
                  <a:pt x="60381" y="280775"/>
                  <a:pt x="70469" y="240819"/>
                </a:cubicBezTo>
                <a:close/>
                <a:moveTo>
                  <a:pt x="360606" y="195902"/>
                </a:moveTo>
                <a:cubicBezTo>
                  <a:pt x="358360" y="222179"/>
                  <a:pt x="350340" y="247636"/>
                  <a:pt x="337123" y="270459"/>
                </a:cubicBezTo>
                <a:cubicBezTo>
                  <a:pt x="310202" y="317035"/>
                  <a:pt x="263879" y="349148"/>
                  <a:pt x="210818" y="358016"/>
                </a:cubicBezTo>
                <a:cubicBezTo>
                  <a:pt x="204725" y="339012"/>
                  <a:pt x="200145" y="297033"/>
                  <a:pt x="233067" y="258094"/>
                </a:cubicBezTo>
                <a:cubicBezTo>
                  <a:pt x="253420" y="259583"/>
                  <a:pt x="271700" y="258196"/>
                  <a:pt x="287766" y="253807"/>
                </a:cubicBezTo>
                <a:cubicBezTo>
                  <a:pt x="320357" y="245284"/>
                  <a:pt x="347885" y="224193"/>
                  <a:pt x="360606" y="195902"/>
                </a:cubicBezTo>
                <a:close/>
                <a:moveTo>
                  <a:pt x="180300" y="142474"/>
                </a:moveTo>
                <a:cubicBezTo>
                  <a:pt x="180317" y="142474"/>
                  <a:pt x="180335" y="142474"/>
                  <a:pt x="180351" y="142474"/>
                </a:cubicBezTo>
                <a:cubicBezTo>
                  <a:pt x="201249" y="142488"/>
                  <a:pt x="218183" y="159433"/>
                  <a:pt x="218183" y="180331"/>
                </a:cubicBezTo>
                <a:cubicBezTo>
                  <a:pt x="218191" y="201247"/>
                  <a:pt x="201241" y="218206"/>
                  <a:pt x="180326" y="218214"/>
                </a:cubicBezTo>
                <a:cubicBezTo>
                  <a:pt x="159410" y="218220"/>
                  <a:pt x="142451" y="201271"/>
                  <a:pt x="142443" y="180357"/>
                </a:cubicBezTo>
                <a:cubicBezTo>
                  <a:pt x="142435" y="159441"/>
                  <a:pt x="159386" y="142482"/>
                  <a:pt x="180300" y="142474"/>
                </a:cubicBezTo>
                <a:close/>
                <a:moveTo>
                  <a:pt x="11355" y="117528"/>
                </a:moveTo>
                <a:cubicBezTo>
                  <a:pt x="30958" y="121777"/>
                  <a:pt x="69604" y="138797"/>
                  <a:pt x="86930" y="186729"/>
                </a:cubicBezTo>
                <a:cubicBezTo>
                  <a:pt x="75507" y="203534"/>
                  <a:pt x="67531" y="220071"/>
                  <a:pt x="63282" y="236150"/>
                </a:cubicBezTo>
                <a:cubicBezTo>
                  <a:pt x="54390" y="268588"/>
                  <a:pt x="58880" y="302973"/>
                  <a:pt x="77084" y="328083"/>
                </a:cubicBezTo>
                <a:cubicBezTo>
                  <a:pt x="55436" y="312981"/>
                  <a:pt x="37377" y="293298"/>
                  <a:pt x="24191" y="270433"/>
                </a:cubicBezTo>
                <a:cubicBezTo>
                  <a:pt x="-2731" y="223946"/>
                  <a:pt x="-7440" y="167852"/>
                  <a:pt x="11355" y="117528"/>
                </a:cubicBezTo>
                <a:close/>
                <a:moveTo>
                  <a:pt x="325674" y="72764"/>
                </a:moveTo>
                <a:cubicBezTo>
                  <a:pt x="344271" y="97831"/>
                  <a:pt x="356060" y="127286"/>
                  <a:pt x="359893" y="158261"/>
                </a:cubicBezTo>
                <a:cubicBezTo>
                  <a:pt x="361292" y="201435"/>
                  <a:pt x="327964" y="234064"/>
                  <a:pt x="288313" y="245297"/>
                </a:cubicBezTo>
                <a:cubicBezTo>
                  <a:pt x="288122" y="214207"/>
                  <a:pt x="267692" y="178551"/>
                  <a:pt x="241475" y="150323"/>
                </a:cubicBezTo>
                <a:cubicBezTo>
                  <a:pt x="220091" y="127298"/>
                  <a:pt x="220015" y="111842"/>
                  <a:pt x="221363" y="105482"/>
                </a:cubicBezTo>
                <a:cubicBezTo>
                  <a:pt x="279879" y="115442"/>
                  <a:pt x="314963" y="83895"/>
                  <a:pt x="325674" y="72764"/>
                </a:cubicBezTo>
                <a:close/>
                <a:moveTo>
                  <a:pt x="100647" y="25566"/>
                </a:moveTo>
                <a:cubicBezTo>
                  <a:pt x="130180" y="20809"/>
                  <a:pt x="161025" y="33253"/>
                  <a:pt x="183226" y="54777"/>
                </a:cubicBezTo>
                <a:cubicBezTo>
                  <a:pt x="156360" y="70487"/>
                  <a:pt x="135637" y="105978"/>
                  <a:pt x="124265" y="142754"/>
                </a:cubicBezTo>
                <a:cubicBezTo>
                  <a:pt x="114991" y="172775"/>
                  <a:pt x="101622" y="180548"/>
                  <a:pt x="95427" y="182570"/>
                </a:cubicBezTo>
                <a:cubicBezTo>
                  <a:pt x="74819" y="127006"/>
                  <a:pt x="29889" y="112415"/>
                  <a:pt x="14891" y="108726"/>
                </a:cubicBezTo>
                <a:cubicBezTo>
                  <a:pt x="27329" y="80081"/>
                  <a:pt x="46977" y="55148"/>
                  <a:pt x="71919" y="36357"/>
                </a:cubicBezTo>
                <a:cubicBezTo>
                  <a:pt x="81103" y="30648"/>
                  <a:pt x="90802" y="27152"/>
                  <a:pt x="100647" y="25566"/>
                </a:cubicBezTo>
                <a:close/>
                <a:moveTo>
                  <a:pt x="180656" y="0"/>
                </a:moveTo>
                <a:cubicBezTo>
                  <a:pt x="234439" y="-61"/>
                  <a:pt x="285442" y="23887"/>
                  <a:pt x="319746" y="65309"/>
                </a:cubicBezTo>
                <a:cubicBezTo>
                  <a:pt x="306300" y="80141"/>
                  <a:pt x="272246" y="105036"/>
                  <a:pt x="221897" y="96055"/>
                </a:cubicBezTo>
                <a:cubicBezTo>
                  <a:pt x="213069" y="77801"/>
                  <a:pt x="202689" y="62638"/>
                  <a:pt x="190846" y="50934"/>
                </a:cubicBezTo>
                <a:cubicBezTo>
                  <a:pt x="167159" y="27083"/>
                  <a:pt x="135090" y="13726"/>
                  <a:pt x="104204" y="16906"/>
                </a:cubicBezTo>
                <a:cubicBezTo>
                  <a:pt x="128142" y="5738"/>
                  <a:pt x="154241" y="-34"/>
                  <a:pt x="180656" y="0"/>
                </a:cubicBezTo>
                <a:close/>
              </a:path>
            </a:pathLst>
          </a:custGeom>
          <a:solidFill>
            <a:schemeClr val="accent2"/>
          </a:solidFill>
          <a:ln w="124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17" name="TextBox 116"/>
          <p:cNvSpPr txBox="1"/>
          <p:nvPr/>
        </p:nvSpPr>
        <p:spPr>
          <a:xfrm>
            <a:off x="10689483" y="877159"/>
            <a:ext cx="119131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500" b="1" dirty="0"/>
              <a:t>РОС</a:t>
            </a:r>
            <a:r>
              <a:rPr lang="ru-RU" sz="1500" dirty="0"/>
              <a:t>АТОМ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6B17B903-1C05-08EC-3D74-1A6B6027B6D1}"/>
              </a:ext>
            </a:extLst>
          </p:cNvPr>
          <p:cNvSpPr txBox="1"/>
          <p:nvPr/>
        </p:nvSpPr>
        <p:spPr>
          <a:xfrm>
            <a:off x="1389111" y="728742"/>
            <a:ext cx="27630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48"/>
            <a:r>
              <a:rPr lang="ru-RU" b="1" dirty="0">
                <a:gradFill flip="none" rotWithShape="1">
                  <a:gsLst>
                    <a:gs pos="0">
                      <a:schemeClr val="accent3"/>
                    </a:gs>
                    <a:gs pos="97000">
                      <a:schemeClr val="accent1"/>
                    </a:gs>
                  </a:gsLst>
                  <a:lin ang="5400000" scaled="1"/>
                  <a:tileRect/>
                </a:gradFill>
                <a:latin typeface="Arial" panose="020B0604020202020204" pitchFamily="34" charset="0"/>
                <a:cs typeface="Arial" panose="020B0604020202020204" pitchFamily="34" charset="0"/>
              </a:rPr>
              <a:t>Стоимость контракта  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E031469C-7A97-39FC-F76B-4F0F19020C4F}"/>
              </a:ext>
            </a:extLst>
          </p:cNvPr>
          <p:cNvSpPr txBox="1"/>
          <p:nvPr/>
        </p:nvSpPr>
        <p:spPr>
          <a:xfrm>
            <a:off x="5656208" y="734146"/>
            <a:ext cx="29160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48"/>
            <a:r>
              <a:rPr lang="ru-RU" b="1" dirty="0">
                <a:gradFill flip="none" rotWithShape="1">
                  <a:gsLst>
                    <a:gs pos="0">
                      <a:schemeClr val="accent3"/>
                    </a:gs>
                    <a:gs pos="97000">
                      <a:schemeClr val="accent1"/>
                    </a:gs>
                  </a:gsLst>
                  <a:lin ang="5400000" scaled="1"/>
                  <a:tileRect/>
                </a:gradFill>
                <a:latin typeface="Arial" panose="020B0604020202020204" pitchFamily="34" charset="0"/>
                <a:cs typeface="Arial" panose="020B0604020202020204" pitchFamily="34" charset="0"/>
              </a:rPr>
              <a:t>Выполняемые работы  </a:t>
            </a:r>
          </a:p>
        </p:txBody>
      </p:sp>
      <p:sp>
        <p:nvSpPr>
          <p:cNvPr id="98" name="Заголовок 5"/>
          <p:cNvSpPr txBox="1">
            <a:spLocks/>
          </p:cNvSpPr>
          <p:nvPr/>
        </p:nvSpPr>
        <p:spPr>
          <a:xfrm>
            <a:off x="750236" y="323617"/>
            <a:ext cx="5899470" cy="459206"/>
          </a:xfrm>
          <a:prstGeom prst="rect">
            <a:avLst/>
          </a:prstGeom>
        </p:spPr>
        <p:txBody>
          <a:bodyPr lIns="0" tIns="0" rIns="0" bIns="0"/>
          <a:lstStyle>
            <a:lvl1pPr algn="l" defTabSz="104269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3200" b="1" kern="120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sz="2300" dirty="0" smtClean="0"/>
              <a:t>Выполнение работ в Таджикистане</a:t>
            </a:r>
            <a:endParaRPr lang="ru-RU" sz="2300" dirty="0"/>
          </a:p>
        </p:txBody>
      </p:sp>
      <p:grpSp>
        <p:nvGrpSpPr>
          <p:cNvPr id="101" name="Группа 100">
            <a:extLst>
              <a:ext uri="{FF2B5EF4-FFF2-40B4-BE49-F238E27FC236}">
                <a16:creationId xmlns:a16="http://schemas.microsoft.com/office/drawing/2014/main" id="{FA20FAC0-F902-10EB-D217-E00F1394D9A5}"/>
              </a:ext>
            </a:extLst>
          </p:cNvPr>
          <p:cNvGrpSpPr/>
          <p:nvPr/>
        </p:nvGrpSpPr>
        <p:grpSpPr>
          <a:xfrm>
            <a:off x="899225" y="841190"/>
            <a:ext cx="545669" cy="515891"/>
            <a:chOff x="1058423" y="1769124"/>
            <a:chExt cx="719999" cy="720000"/>
          </a:xfrm>
        </p:grpSpPr>
        <p:pic>
          <p:nvPicPr>
            <p:cNvPr id="108" name="Рисунок 107">
              <a:extLst>
                <a:ext uri="{FF2B5EF4-FFF2-40B4-BE49-F238E27FC236}">
                  <a16:creationId xmlns:a16="http://schemas.microsoft.com/office/drawing/2014/main" id="{3B40DA92-3CA0-BE4E-5A28-22AD844111E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/>
            <a:stretch/>
          </p:blipFill>
          <p:spPr>
            <a:xfrm>
              <a:off x="1058423" y="1769124"/>
              <a:ext cx="719999" cy="720000"/>
            </a:xfrm>
            <a:prstGeom prst="rect">
              <a:avLst/>
            </a:prstGeom>
          </p:spPr>
        </p:pic>
        <p:sp>
          <p:nvSpPr>
            <p:cNvPr id="109" name="Полилиния 34">
              <a:extLst>
                <a:ext uri="{FF2B5EF4-FFF2-40B4-BE49-F238E27FC236}">
                  <a16:creationId xmlns:a16="http://schemas.microsoft.com/office/drawing/2014/main" id="{B05E422C-03C0-42A8-F5C1-F92E50B1B027}"/>
                </a:ext>
              </a:extLst>
            </p:cNvPr>
            <p:cNvSpPr/>
            <p:nvPr/>
          </p:nvSpPr>
          <p:spPr>
            <a:xfrm>
              <a:off x="1207623" y="1952086"/>
              <a:ext cx="404286" cy="419770"/>
            </a:xfrm>
            <a:custGeom>
              <a:avLst/>
              <a:gdLst>
                <a:gd name="connsiteX0" fmla="*/ 0 w 404286"/>
                <a:gd name="connsiteY0" fmla="*/ 300332 h 419770"/>
                <a:gd name="connsiteX1" fmla="*/ 59690 w 404286"/>
                <a:gd name="connsiteY1" fmla="*/ 300332 h 419770"/>
                <a:gd name="connsiteX2" fmla="*/ 66407 w 404286"/>
                <a:gd name="connsiteY2" fmla="*/ 307089 h 419770"/>
                <a:gd name="connsiteX3" fmla="*/ 66407 w 404286"/>
                <a:gd name="connsiteY3" fmla="*/ 373591 h 419770"/>
                <a:gd name="connsiteX4" fmla="*/ 0 w 404286"/>
                <a:gd name="connsiteY4" fmla="*/ 300332 h 419770"/>
                <a:gd name="connsiteX5" fmla="*/ 118588 w 404286"/>
                <a:gd name="connsiteY5" fmla="*/ 299163 h 419770"/>
                <a:gd name="connsiteX6" fmla="*/ 152229 w 404286"/>
                <a:gd name="connsiteY6" fmla="*/ 303556 h 419770"/>
                <a:gd name="connsiteX7" fmla="*/ 187746 w 404286"/>
                <a:gd name="connsiteY7" fmla="*/ 308714 h 419770"/>
                <a:gd name="connsiteX8" fmla="*/ 193638 w 404286"/>
                <a:gd name="connsiteY8" fmla="*/ 308572 h 419770"/>
                <a:gd name="connsiteX9" fmla="*/ 265163 w 404286"/>
                <a:gd name="connsiteY9" fmla="*/ 305065 h 419770"/>
                <a:gd name="connsiteX10" fmla="*/ 266065 w 404286"/>
                <a:gd name="connsiteY10" fmla="*/ 305065 h 419770"/>
                <a:gd name="connsiteX11" fmla="*/ 284851 w 404286"/>
                <a:gd name="connsiteY11" fmla="*/ 321960 h 419770"/>
                <a:gd name="connsiteX12" fmla="*/ 268063 w 404286"/>
                <a:gd name="connsiteY12" fmla="*/ 342694 h 419770"/>
                <a:gd name="connsiteX13" fmla="*/ 192619 w 404286"/>
                <a:gd name="connsiteY13" fmla="*/ 350792 h 419770"/>
                <a:gd name="connsiteX14" fmla="*/ 186263 w 404286"/>
                <a:gd name="connsiteY14" fmla="*/ 357872 h 419770"/>
                <a:gd name="connsiteX15" fmla="*/ 186263 w 404286"/>
                <a:gd name="connsiteY15" fmla="*/ 358207 h 419770"/>
                <a:gd name="connsiteX16" fmla="*/ 193367 w 404286"/>
                <a:gd name="connsiteY16" fmla="*/ 364990 h 419770"/>
                <a:gd name="connsiteX17" fmla="*/ 194076 w 404286"/>
                <a:gd name="connsiteY17" fmla="*/ 364990 h 419770"/>
                <a:gd name="connsiteX18" fmla="*/ 259593 w 404286"/>
                <a:gd name="connsiteY18" fmla="*/ 358542 h 419770"/>
                <a:gd name="connsiteX19" fmla="*/ 302511 w 404286"/>
                <a:gd name="connsiteY19" fmla="*/ 344963 h 419770"/>
                <a:gd name="connsiteX20" fmla="*/ 373301 w 404286"/>
                <a:gd name="connsiteY20" fmla="*/ 304987 h 419770"/>
                <a:gd name="connsiteX21" fmla="*/ 401457 w 404286"/>
                <a:gd name="connsiteY21" fmla="*/ 312660 h 419770"/>
                <a:gd name="connsiteX22" fmla="*/ 403997 w 404286"/>
                <a:gd name="connsiteY22" fmla="*/ 326536 h 419770"/>
                <a:gd name="connsiteX23" fmla="*/ 389532 w 404286"/>
                <a:gd name="connsiteY23" fmla="*/ 343545 h 419770"/>
                <a:gd name="connsiteX24" fmla="*/ 282670 w 404286"/>
                <a:gd name="connsiteY24" fmla="*/ 405753 h 419770"/>
                <a:gd name="connsiteX25" fmla="*/ 230715 w 404286"/>
                <a:gd name="connsiteY25" fmla="*/ 419770 h 419770"/>
                <a:gd name="connsiteX26" fmla="*/ 225649 w 404286"/>
                <a:gd name="connsiteY26" fmla="*/ 419641 h 419770"/>
                <a:gd name="connsiteX27" fmla="*/ 162478 w 404286"/>
                <a:gd name="connsiteY27" fmla="*/ 416533 h 419770"/>
                <a:gd name="connsiteX28" fmla="*/ 76578 w 404286"/>
                <a:gd name="connsiteY28" fmla="*/ 381135 h 419770"/>
                <a:gd name="connsiteX29" fmla="*/ 76578 w 404286"/>
                <a:gd name="connsiteY29" fmla="*/ 308572 h 419770"/>
                <a:gd name="connsiteX30" fmla="*/ 85254 w 404286"/>
                <a:gd name="connsiteY30" fmla="*/ 305477 h 419770"/>
                <a:gd name="connsiteX31" fmla="*/ 118588 w 404286"/>
                <a:gd name="connsiteY31" fmla="*/ 299163 h 419770"/>
                <a:gd name="connsiteX32" fmla="*/ 349271 w 404286"/>
                <a:gd name="connsiteY32" fmla="*/ 288738 h 419770"/>
                <a:gd name="connsiteX33" fmla="*/ 366791 w 404286"/>
                <a:gd name="connsiteY33" fmla="*/ 298332 h 419770"/>
                <a:gd name="connsiteX34" fmla="*/ 297522 w 404286"/>
                <a:gd name="connsiteY34" fmla="*/ 337522 h 419770"/>
                <a:gd name="connsiteX35" fmla="*/ 297445 w 404286"/>
                <a:gd name="connsiteY35" fmla="*/ 337522 h 419770"/>
                <a:gd name="connsiteX36" fmla="*/ 296155 w 404286"/>
                <a:gd name="connsiteY36" fmla="*/ 337870 h 419770"/>
                <a:gd name="connsiteX37" fmla="*/ 295326 w 404286"/>
                <a:gd name="connsiteY37" fmla="*/ 337737 h 419770"/>
                <a:gd name="connsiteX38" fmla="*/ 293577 w 404286"/>
                <a:gd name="connsiteY38" fmla="*/ 334311 h 419770"/>
                <a:gd name="connsiteX39" fmla="*/ 293886 w 404286"/>
                <a:gd name="connsiteY39" fmla="*/ 333331 h 419770"/>
                <a:gd name="connsiteX40" fmla="*/ 293100 w 404286"/>
                <a:gd name="connsiteY40" fmla="*/ 314851 h 419770"/>
                <a:gd name="connsiteX41" fmla="*/ 335205 w 404286"/>
                <a:gd name="connsiteY41" fmla="*/ 293380 h 419770"/>
                <a:gd name="connsiteX42" fmla="*/ 339679 w 404286"/>
                <a:gd name="connsiteY42" fmla="*/ 291098 h 419770"/>
                <a:gd name="connsiteX43" fmla="*/ 349271 w 404286"/>
                <a:gd name="connsiteY43" fmla="*/ 288738 h 419770"/>
                <a:gd name="connsiteX44" fmla="*/ 321483 w 404286"/>
                <a:gd name="connsiteY44" fmla="*/ 278103 h 419770"/>
                <a:gd name="connsiteX45" fmla="*/ 332872 w 404286"/>
                <a:gd name="connsiteY45" fmla="*/ 286314 h 419770"/>
                <a:gd name="connsiteX46" fmla="*/ 290883 w 404286"/>
                <a:gd name="connsiteY46" fmla="*/ 307721 h 419770"/>
                <a:gd name="connsiteX47" fmla="*/ 272834 w 404286"/>
                <a:gd name="connsiteY47" fmla="*/ 294503 h 419770"/>
                <a:gd name="connsiteX48" fmla="*/ 307475 w 404286"/>
                <a:gd name="connsiteY48" fmla="*/ 279028 h 419770"/>
                <a:gd name="connsiteX49" fmla="*/ 321483 w 404286"/>
                <a:gd name="connsiteY49" fmla="*/ 278103 h 419770"/>
                <a:gd name="connsiteX50" fmla="*/ 80730 w 404286"/>
                <a:gd name="connsiteY50" fmla="*/ 199102 h 419770"/>
                <a:gd name="connsiteX51" fmla="*/ 100610 w 404286"/>
                <a:gd name="connsiteY51" fmla="*/ 214332 h 419770"/>
                <a:gd name="connsiteX52" fmla="*/ 156045 w 404286"/>
                <a:gd name="connsiteY52" fmla="*/ 225757 h 419770"/>
                <a:gd name="connsiteX53" fmla="*/ 211558 w 404286"/>
                <a:gd name="connsiteY53" fmla="*/ 214332 h 419770"/>
                <a:gd name="connsiteX54" fmla="*/ 231425 w 404286"/>
                <a:gd name="connsiteY54" fmla="*/ 199102 h 419770"/>
                <a:gd name="connsiteX55" fmla="*/ 231425 w 404286"/>
                <a:gd name="connsiteY55" fmla="*/ 219735 h 419770"/>
                <a:gd name="connsiteX56" fmla="*/ 156097 w 404286"/>
                <a:gd name="connsiteY56" fmla="*/ 256603 h 419770"/>
                <a:gd name="connsiteX57" fmla="*/ 80730 w 404286"/>
                <a:gd name="connsiteY57" fmla="*/ 219735 h 419770"/>
                <a:gd name="connsiteX58" fmla="*/ 380920 w 404286"/>
                <a:gd name="connsiteY58" fmla="*/ 170957 h 419770"/>
                <a:gd name="connsiteX59" fmla="*/ 389662 w 404286"/>
                <a:gd name="connsiteY59" fmla="*/ 173543 h 419770"/>
                <a:gd name="connsiteX60" fmla="*/ 387096 w 404286"/>
                <a:gd name="connsiteY60" fmla="*/ 182286 h 419770"/>
                <a:gd name="connsiteX61" fmla="*/ 286538 w 404286"/>
                <a:gd name="connsiteY61" fmla="*/ 237272 h 419770"/>
                <a:gd name="connsiteX62" fmla="*/ 272937 w 404286"/>
                <a:gd name="connsiteY62" fmla="*/ 237646 h 419770"/>
                <a:gd name="connsiteX63" fmla="*/ 237871 w 404286"/>
                <a:gd name="connsiteY63" fmla="*/ 220882 h 419770"/>
                <a:gd name="connsiteX64" fmla="*/ 237871 w 404286"/>
                <a:gd name="connsiteY64" fmla="*/ 206697 h 419770"/>
                <a:gd name="connsiteX65" fmla="*/ 278558 w 404286"/>
                <a:gd name="connsiteY65" fmla="*/ 226040 h 419770"/>
                <a:gd name="connsiteX66" fmla="*/ 280415 w 404286"/>
                <a:gd name="connsiteY66" fmla="*/ 226040 h 419770"/>
                <a:gd name="connsiteX67" fmla="*/ 380908 w 404286"/>
                <a:gd name="connsiteY67" fmla="*/ 170964 h 419770"/>
                <a:gd name="connsiteX68" fmla="*/ 380920 w 404286"/>
                <a:gd name="connsiteY68" fmla="*/ 170957 h 419770"/>
                <a:gd name="connsiteX69" fmla="*/ 80730 w 404286"/>
                <a:gd name="connsiteY69" fmla="*/ 162259 h 419770"/>
                <a:gd name="connsiteX70" fmla="*/ 99926 w 404286"/>
                <a:gd name="connsiteY70" fmla="*/ 177140 h 419770"/>
                <a:gd name="connsiteX71" fmla="*/ 156045 w 404286"/>
                <a:gd name="connsiteY71" fmla="*/ 188901 h 419770"/>
                <a:gd name="connsiteX72" fmla="*/ 212229 w 404286"/>
                <a:gd name="connsiteY72" fmla="*/ 177140 h 419770"/>
                <a:gd name="connsiteX73" fmla="*/ 231425 w 404286"/>
                <a:gd name="connsiteY73" fmla="*/ 162259 h 419770"/>
                <a:gd name="connsiteX74" fmla="*/ 231425 w 404286"/>
                <a:gd name="connsiteY74" fmla="*/ 182453 h 419770"/>
                <a:gd name="connsiteX75" fmla="*/ 156097 w 404286"/>
                <a:gd name="connsiteY75" fmla="*/ 219322 h 419770"/>
                <a:gd name="connsiteX76" fmla="*/ 80730 w 404286"/>
                <a:gd name="connsiteY76" fmla="*/ 182453 h 419770"/>
                <a:gd name="connsiteX77" fmla="*/ 382476 w 404286"/>
                <a:gd name="connsiteY77" fmla="*/ 154175 h 419770"/>
                <a:gd name="connsiteX78" fmla="*/ 386826 w 404286"/>
                <a:gd name="connsiteY78" fmla="*/ 155476 h 419770"/>
                <a:gd name="connsiteX79" fmla="*/ 386837 w 404286"/>
                <a:gd name="connsiteY79" fmla="*/ 155496 h 419770"/>
                <a:gd name="connsiteX80" fmla="*/ 385536 w 404286"/>
                <a:gd name="connsiteY80" fmla="*/ 159847 h 419770"/>
                <a:gd name="connsiteX81" fmla="*/ 284979 w 404286"/>
                <a:gd name="connsiteY81" fmla="*/ 214834 h 419770"/>
                <a:gd name="connsiteX82" fmla="*/ 274317 w 404286"/>
                <a:gd name="connsiteY82" fmla="*/ 215130 h 419770"/>
                <a:gd name="connsiteX83" fmla="*/ 237871 w 404286"/>
                <a:gd name="connsiteY83" fmla="*/ 197747 h 419770"/>
                <a:gd name="connsiteX84" fmla="*/ 237871 w 404286"/>
                <a:gd name="connsiteY84" fmla="*/ 190603 h 419770"/>
                <a:gd name="connsiteX85" fmla="*/ 277101 w 404286"/>
                <a:gd name="connsiteY85" fmla="*/ 209315 h 419770"/>
                <a:gd name="connsiteX86" fmla="*/ 281897 w 404286"/>
                <a:gd name="connsiteY86" fmla="*/ 209173 h 419770"/>
                <a:gd name="connsiteX87" fmla="*/ 382455 w 404286"/>
                <a:gd name="connsiteY87" fmla="*/ 154186 h 419770"/>
                <a:gd name="connsiteX88" fmla="*/ 382476 w 404286"/>
                <a:gd name="connsiteY88" fmla="*/ 154175 h 419770"/>
                <a:gd name="connsiteX89" fmla="*/ 382455 w 404286"/>
                <a:gd name="connsiteY89" fmla="*/ 138506 h 419770"/>
                <a:gd name="connsiteX90" fmla="*/ 386826 w 404286"/>
                <a:gd name="connsiteY90" fmla="*/ 139795 h 419770"/>
                <a:gd name="connsiteX91" fmla="*/ 386837 w 404286"/>
                <a:gd name="connsiteY91" fmla="*/ 139816 h 419770"/>
                <a:gd name="connsiteX92" fmla="*/ 385536 w 404286"/>
                <a:gd name="connsiteY92" fmla="*/ 144167 h 419770"/>
                <a:gd name="connsiteX93" fmla="*/ 284979 w 404286"/>
                <a:gd name="connsiteY93" fmla="*/ 199153 h 419770"/>
                <a:gd name="connsiteX94" fmla="*/ 274317 w 404286"/>
                <a:gd name="connsiteY94" fmla="*/ 199450 h 419770"/>
                <a:gd name="connsiteX95" fmla="*/ 237871 w 404286"/>
                <a:gd name="connsiteY95" fmla="*/ 182067 h 419770"/>
                <a:gd name="connsiteX96" fmla="*/ 237871 w 404286"/>
                <a:gd name="connsiteY96" fmla="*/ 174923 h 419770"/>
                <a:gd name="connsiteX97" fmla="*/ 277101 w 404286"/>
                <a:gd name="connsiteY97" fmla="*/ 193634 h 419770"/>
                <a:gd name="connsiteX98" fmla="*/ 281897 w 404286"/>
                <a:gd name="connsiteY98" fmla="*/ 193505 h 419770"/>
                <a:gd name="connsiteX99" fmla="*/ 40365 w 404286"/>
                <a:gd name="connsiteY99" fmla="*/ 112470 h 419770"/>
                <a:gd name="connsiteX100" fmla="*/ 78319 w 404286"/>
                <a:gd name="connsiteY100" fmla="*/ 130523 h 419770"/>
                <a:gd name="connsiteX101" fmla="*/ 74348 w 404286"/>
                <a:gd name="connsiteY101" fmla="*/ 142929 h 419770"/>
                <a:gd name="connsiteX102" fmla="*/ 34821 w 404286"/>
                <a:gd name="connsiteY102" fmla="*/ 124076 h 419770"/>
                <a:gd name="connsiteX103" fmla="*/ 32008 w 404286"/>
                <a:gd name="connsiteY103" fmla="*/ 116114 h 419770"/>
                <a:gd name="connsiteX104" fmla="*/ 40365 w 404286"/>
                <a:gd name="connsiteY104" fmla="*/ 112470 h 419770"/>
                <a:gd name="connsiteX105" fmla="*/ 156097 w 404286"/>
                <a:gd name="connsiteY105" fmla="*/ 106834 h 419770"/>
                <a:gd name="connsiteX106" fmla="*/ 231477 w 404286"/>
                <a:gd name="connsiteY106" fmla="*/ 144644 h 419770"/>
                <a:gd name="connsiteX107" fmla="*/ 156097 w 404286"/>
                <a:gd name="connsiteY107" fmla="*/ 182453 h 419770"/>
                <a:gd name="connsiteX108" fmla="*/ 80717 w 404286"/>
                <a:gd name="connsiteY108" fmla="*/ 144644 h 419770"/>
                <a:gd name="connsiteX109" fmla="*/ 156097 w 404286"/>
                <a:gd name="connsiteY109" fmla="*/ 106834 h 419770"/>
                <a:gd name="connsiteX110" fmla="*/ 38985 w 404286"/>
                <a:gd name="connsiteY110" fmla="*/ 95706 h 419770"/>
                <a:gd name="connsiteX111" fmla="*/ 88465 w 404286"/>
                <a:gd name="connsiteY111" fmla="*/ 119317 h 419770"/>
                <a:gd name="connsiteX112" fmla="*/ 83308 w 404286"/>
                <a:gd name="connsiteY112" fmla="*/ 123998 h 419770"/>
                <a:gd name="connsiteX113" fmla="*/ 36200 w 404286"/>
                <a:gd name="connsiteY113" fmla="*/ 101522 h 419770"/>
                <a:gd name="connsiteX114" fmla="*/ 34686 w 404286"/>
                <a:gd name="connsiteY114" fmla="*/ 97221 h 419770"/>
                <a:gd name="connsiteX115" fmla="*/ 38985 w 404286"/>
                <a:gd name="connsiteY115" fmla="*/ 95706 h 419770"/>
                <a:gd name="connsiteX116" fmla="*/ 38998 w 404286"/>
                <a:gd name="connsiteY116" fmla="*/ 80024 h 419770"/>
                <a:gd name="connsiteX117" fmla="*/ 103136 w 404286"/>
                <a:gd name="connsiteY117" fmla="*/ 110625 h 419770"/>
                <a:gd name="connsiteX118" fmla="*/ 99926 w 404286"/>
                <a:gd name="connsiteY118" fmla="*/ 112147 h 419770"/>
                <a:gd name="connsiteX119" fmla="*/ 95916 w 404286"/>
                <a:gd name="connsiteY119" fmla="*/ 114326 h 419770"/>
                <a:gd name="connsiteX120" fmla="*/ 36213 w 404286"/>
                <a:gd name="connsiteY120" fmla="*/ 85853 h 419770"/>
                <a:gd name="connsiteX121" fmla="*/ 34692 w 404286"/>
                <a:gd name="connsiteY121" fmla="*/ 81546 h 419770"/>
                <a:gd name="connsiteX122" fmla="*/ 38998 w 404286"/>
                <a:gd name="connsiteY122" fmla="*/ 80024 h 419770"/>
                <a:gd name="connsiteX123" fmla="*/ 161808 w 404286"/>
                <a:gd name="connsiteY123" fmla="*/ 21904 h 419770"/>
                <a:gd name="connsiteX124" fmla="*/ 141916 w 404286"/>
                <a:gd name="connsiteY124" fmla="*/ 27321 h 419770"/>
                <a:gd name="connsiteX125" fmla="*/ 123351 w 404286"/>
                <a:gd name="connsiteY125" fmla="*/ 22665 h 419770"/>
                <a:gd name="connsiteX126" fmla="*/ 86042 w 404286"/>
                <a:gd name="connsiteY126" fmla="*/ 42602 h 419770"/>
                <a:gd name="connsiteX127" fmla="*/ 91611 w 404286"/>
                <a:gd name="connsiteY127" fmla="*/ 54904 h 419770"/>
                <a:gd name="connsiteX128" fmla="*/ 77275 w 404286"/>
                <a:gd name="connsiteY128" fmla="*/ 72958 h 419770"/>
                <a:gd name="connsiteX129" fmla="*/ 114958 w 404286"/>
                <a:gd name="connsiteY129" fmla="*/ 90921 h 419770"/>
                <a:gd name="connsiteX130" fmla="*/ 204352 w 404286"/>
                <a:gd name="connsiteY130" fmla="*/ 41996 h 419770"/>
                <a:gd name="connsiteX131" fmla="*/ 148529 w 404286"/>
                <a:gd name="connsiteY131" fmla="*/ 1413 h 419770"/>
                <a:gd name="connsiteX132" fmla="*/ 386491 w 404286"/>
                <a:gd name="connsiteY132" fmla="*/ 113605 h 419770"/>
                <a:gd name="connsiteX133" fmla="*/ 386542 w 404286"/>
                <a:gd name="connsiteY133" fmla="*/ 113579 h 419770"/>
                <a:gd name="connsiteX134" fmla="*/ 389496 w 404286"/>
                <a:gd name="connsiteY134" fmla="*/ 116356 h 419770"/>
                <a:gd name="connsiteX135" fmla="*/ 386903 w 404286"/>
                <a:gd name="connsiteY135" fmla="*/ 125327 h 419770"/>
                <a:gd name="connsiteX136" fmla="*/ 286629 w 404286"/>
                <a:gd name="connsiteY136" fmla="*/ 180184 h 419770"/>
                <a:gd name="connsiteX137" fmla="*/ 273028 w 404286"/>
                <a:gd name="connsiteY137" fmla="*/ 180558 h 419770"/>
                <a:gd name="connsiteX138" fmla="*/ 232341 w 404286"/>
                <a:gd name="connsiteY138" fmla="*/ 161150 h 419770"/>
                <a:gd name="connsiteX139" fmla="*/ 237497 w 404286"/>
                <a:gd name="connsiteY139" fmla="*/ 149351 h 419770"/>
                <a:gd name="connsiteX140" fmla="*/ 254863 w 404286"/>
                <a:gd name="connsiteY140" fmla="*/ 157630 h 419770"/>
                <a:gd name="connsiteX141" fmla="*/ 280866 w 404286"/>
                <a:gd name="connsiteY141" fmla="*/ 146733 h 419770"/>
                <a:gd name="connsiteX142" fmla="*/ 304923 w 404286"/>
                <a:gd name="connsiteY142" fmla="*/ 155463 h 419770"/>
                <a:gd name="connsiteX143" fmla="*/ 346177 w 404286"/>
                <a:gd name="connsiteY143" fmla="*/ 132883 h 419770"/>
                <a:gd name="connsiteX144" fmla="*/ 338442 w 404286"/>
                <a:gd name="connsiteY144" fmla="*/ 118698 h 419770"/>
                <a:gd name="connsiteX145" fmla="*/ 343057 w 404286"/>
                <a:gd name="connsiteY145" fmla="*/ 107402 h 419770"/>
                <a:gd name="connsiteX146" fmla="*/ 298232 w 404286"/>
                <a:gd name="connsiteY146" fmla="*/ 86202 h 419770"/>
                <a:gd name="connsiteX147" fmla="*/ 229027 w 404286"/>
                <a:gd name="connsiteY147" fmla="*/ 124063 h 419770"/>
                <a:gd name="connsiteX148" fmla="*/ 212345 w 404286"/>
                <a:gd name="connsiteY148" fmla="*/ 112134 h 419770"/>
                <a:gd name="connsiteX149" fmla="*/ 156161 w 404286"/>
                <a:gd name="connsiteY149" fmla="*/ 100374 h 419770"/>
                <a:gd name="connsiteX150" fmla="*/ 116299 w 404286"/>
                <a:gd name="connsiteY150" fmla="*/ 105803 h 419770"/>
                <a:gd name="connsiteX151" fmla="*/ 35079 w 404286"/>
                <a:gd name="connsiteY151" fmla="*/ 67116 h 419770"/>
                <a:gd name="connsiteX152" fmla="*/ 32103 w 404286"/>
                <a:gd name="connsiteY152" fmla="*/ 64273 h 419770"/>
                <a:gd name="connsiteX153" fmla="*/ 34809 w 404286"/>
                <a:gd name="connsiteY153" fmla="*/ 55355 h 419770"/>
                <a:gd name="connsiteX154" fmla="*/ 135122 w 404286"/>
                <a:gd name="connsiteY154" fmla="*/ 1749 h 419770"/>
                <a:gd name="connsiteX155" fmla="*/ 148529 w 404286"/>
                <a:gd name="connsiteY155" fmla="*/ 1413 h 419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</a:cxnLst>
              <a:rect l="l" t="t" r="r" b="b"/>
              <a:pathLst>
                <a:path w="404286" h="419770">
                  <a:moveTo>
                    <a:pt x="0" y="300332"/>
                  </a:moveTo>
                  <a:lnTo>
                    <a:pt x="59690" y="300332"/>
                  </a:lnTo>
                  <a:cubicBezTo>
                    <a:pt x="63403" y="300360"/>
                    <a:pt x="66400" y="303375"/>
                    <a:pt x="66407" y="307089"/>
                  </a:cubicBezTo>
                  <a:lnTo>
                    <a:pt x="66407" y="373591"/>
                  </a:lnTo>
                  <a:cubicBezTo>
                    <a:pt x="39561" y="353900"/>
                    <a:pt x="16972" y="328981"/>
                    <a:pt x="0" y="300332"/>
                  </a:cubicBezTo>
                  <a:close/>
                  <a:moveTo>
                    <a:pt x="118588" y="299163"/>
                  </a:moveTo>
                  <a:cubicBezTo>
                    <a:pt x="129893" y="298839"/>
                    <a:pt x="141249" y="300299"/>
                    <a:pt x="152229" y="303556"/>
                  </a:cubicBezTo>
                  <a:cubicBezTo>
                    <a:pt x="163757" y="306980"/>
                    <a:pt x="175720" y="308717"/>
                    <a:pt x="187746" y="308714"/>
                  </a:cubicBezTo>
                  <a:cubicBezTo>
                    <a:pt x="189770" y="308714"/>
                    <a:pt x="191678" y="308662"/>
                    <a:pt x="193638" y="308572"/>
                  </a:cubicBezTo>
                  <a:lnTo>
                    <a:pt x="265163" y="305065"/>
                  </a:lnTo>
                  <a:lnTo>
                    <a:pt x="266065" y="305065"/>
                  </a:lnTo>
                  <a:cubicBezTo>
                    <a:pt x="275730" y="305050"/>
                    <a:pt x="283842" y="312345"/>
                    <a:pt x="284851" y="321960"/>
                  </a:cubicBezTo>
                  <a:cubicBezTo>
                    <a:pt x="285940" y="332323"/>
                    <a:pt x="278424" y="341605"/>
                    <a:pt x="268063" y="342694"/>
                  </a:cubicBezTo>
                  <a:lnTo>
                    <a:pt x="192619" y="350792"/>
                  </a:lnTo>
                  <a:cubicBezTo>
                    <a:pt x="189003" y="351180"/>
                    <a:pt x="186262" y="354234"/>
                    <a:pt x="186263" y="357872"/>
                  </a:cubicBezTo>
                  <a:cubicBezTo>
                    <a:pt x="186257" y="357984"/>
                    <a:pt x="186257" y="358095"/>
                    <a:pt x="186263" y="358207"/>
                  </a:cubicBezTo>
                  <a:cubicBezTo>
                    <a:pt x="186443" y="362002"/>
                    <a:pt x="189569" y="364987"/>
                    <a:pt x="193367" y="364990"/>
                  </a:cubicBezTo>
                  <a:lnTo>
                    <a:pt x="194076" y="364990"/>
                  </a:lnTo>
                  <a:lnTo>
                    <a:pt x="259593" y="358542"/>
                  </a:lnTo>
                  <a:cubicBezTo>
                    <a:pt x="274689" y="357058"/>
                    <a:pt x="289308" y="352432"/>
                    <a:pt x="302511" y="344963"/>
                  </a:cubicBezTo>
                  <a:lnTo>
                    <a:pt x="373301" y="304987"/>
                  </a:lnTo>
                  <a:cubicBezTo>
                    <a:pt x="383200" y="299370"/>
                    <a:pt x="395776" y="302796"/>
                    <a:pt x="401457" y="312660"/>
                  </a:cubicBezTo>
                  <a:cubicBezTo>
                    <a:pt x="403907" y="316843"/>
                    <a:pt x="404807" y="321755"/>
                    <a:pt x="403997" y="326536"/>
                  </a:cubicBezTo>
                  <a:cubicBezTo>
                    <a:pt x="399424" y="332433"/>
                    <a:pt x="394603" y="338103"/>
                    <a:pt x="389532" y="343545"/>
                  </a:cubicBezTo>
                  <a:lnTo>
                    <a:pt x="282670" y="405753"/>
                  </a:lnTo>
                  <a:cubicBezTo>
                    <a:pt x="266894" y="414933"/>
                    <a:pt x="248968" y="419770"/>
                    <a:pt x="230715" y="419770"/>
                  </a:cubicBezTo>
                  <a:cubicBezTo>
                    <a:pt x="229026" y="419770"/>
                    <a:pt x="227338" y="419732"/>
                    <a:pt x="225649" y="419641"/>
                  </a:cubicBezTo>
                  <a:lnTo>
                    <a:pt x="162478" y="416533"/>
                  </a:lnTo>
                  <a:cubicBezTo>
                    <a:pt x="131832" y="410380"/>
                    <a:pt x="102664" y="398360"/>
                    <a:pt x="76578" y="381135"/>
                  </a:cubicBezTo>
                  <a:lnTo>
                    <a:pt x="76578" y="308572"/>
                  </a:lnTo>
                  <a:lnTo>
                    <a:pt x="85254" y="305477"/>
                  </a:lnTo>
                  <a:cubicBezTo>
                    <a:pt x="96029" y="301596"/>
                    <a:pt x="107283" y="299487"/>
                    <a:pt x="118588" y="299163"/>
                  </a:cubicBezTo>
                  <a:close/>
                  <a:moveTo>
                    <a:pt x="349271" y="288738"/>
                  </a:moveTo>
                  <a:cubicBezTo>
                    <a:pt x="356368" y="288723"/>
                    <a:pt x="362979" y="292344"/>
                    <a:pt x="366791" y="298332"/>
                  </a:cubicBezTo>
                  <a:lnTo>
                    <a:pt x="297522" y="337522"/>
                  </a:lnTo>
                  <a:lnTo>
                    <a:pt x="297445" y="337522"/>
                  </a:lnTo>
                  <a:cubicBezTo>
                    <a:pt x="297053" y="337749"/>
                    <a:pt x="296608" y="337869"/>
                    <a:pt x="296155" y="337870"/>
                  </a:cubicBezTo>
                  <a:cubicBezTo>
                    <a:pt x="295874" y="337869"/>
                    <a:pt x="295595" y="337825"/>
                    <a:pt x="295326" y="337737"/>
                  </a:cubicBezTo>
                  <a:cubicBezTo>
                    <a:pt x="293898" y="337274"/>
                    <a:pt x="293114" y="335741"/>
                    <a:pt x="293577" y="334311"/>
                  </a:cubicBezTo>
                  <a:lnTo>
                    <a:pt x="293886" y="333331"/>
                  </a:lnTo>
                  <a:cubicBezTo>
                    <a:pt x="295636" y="327249"/>
                    <a:pt x="295360" y="320763"/>
                    <a:pt x="293100" y="314851"/>
                  </a:cubicBezTo>
                  <a:lnTo>
                    <a:pt x="335205" y="293380"/>
                  </a:lnTo>
                  <a:lnTo>
                    <a:pt x="339679" y="291098"/>
                  </a:lnTo>
                  <a:cubicBezTo>
                    <a:pt x="342639" y="289549"/>
                    <a:pt x="345930" y="288739"/>
                    <a:pt x="349271" y="288738"/>
                  </a:cubicBezTo>
                  <a:close/>
                  <a:moveTo>
                    <a:pt x="321483" y="278103"/>
                  </a:moveTo>
                  <a:cubicBezTo>
                    <a:pt x="325990" y="279396"/>
                    <a:pt x="330060" y="282212"/>
                    <a:pt x="332872" y="286314"/>
                  </a:cubicBezTo>
                  <a:lnTo>
                    <a:pt x="290883" y="307721"/>
                  </a:lnTo>
                  <a:cubicBezTo>
                    <a:pt x="286899" y="301056"/>
                    <a:pt x="280389" y="296287"/>
                    <a:pt x="272834" y="294503"/>
                  </a:cubicBezTo>
                  <a:lnTo>
                    <a:pt x="307475" y="279028"/>
                  </a:lnTo>
                  <a:cubicBezTo>
                    <a:pt x="312034" y="277040"/>
                    <a:pt x="316977" y="276810"/>
                    <a:pt x="321483" y="278103"/>
                  </a:cubicBezTo>
                  <a:close/>
                  <a:moveTo>
                    <a:pt x="80730" y="199102"/>
                  </a:moveTo>
                  <a:cubicBezTo>
                    <a:pt x="85139" y="204879"/>
                    <a:pt x="91895" y="210063"/>
                    <a:pt x="100610" y="214332"/>
                  </a:cubicBezTo>
                  <a:cubicBezTo>
                    <a:pt x="115564" y="221695"/>
                    <a:pt x="135276" y="225757"/>
                    <a:pt x="156045" y="225757"/>
                  </a:cubicBezTo>
                  <a:cubicBezTo>
                    <a:pt x="176814" y="225757"/>
                    <a:pt x="196526" y="221695"/>
                    <a:pt x="211558" y="214332"/>
                  </a:cubicBezTo>
                  <a:cubicBezTo>
                    <a:pt x="220261" y="210063"/>
                    <a:pt x="226964" y="204879"/>
                    <a:pt x="231425" y="199102"/>
                  </a:cubicBezTo>
                  <a:lnTo>
                    <a:pt x="231425" y="219735"/>
                  </a:lnTo>
                  <a:cubicBezTo>
                    <a:pt x="230432" y="240174"/>
                    <a:pt x="197106" y="256603"/>
                    <a:pt x="156097" y="256603"/>
                  </a:cubicBezTo>
                  <a:cubicBezTo>
                    <a:pt x="115100" y="256603"/>
                    <a:pt x="81761" y="240226"/>
                    <a:pt x="80730" y="219735"/>
                  </a:cubicBezTo>
                  <a:close/>
                  <a:moveTo>
                    <a:pt x="380920" y="170957"/>
                  </a:moveTo>
                  <a:cubicBezTo>
                    <a:pt x="384047" y="169256"/>
                    <a:pt x="387961" y="170414"/>
                    <a:pt x="389662" y="173543"/>
                  </a:cubicBezTo>
                  <a:cubicBezTo>
                    <a:pt x="391365" y="176666"/>
                    <a:pt x="390216" y="180578"/>
                    <a:pt x="387096" y="182286"/>
                  </a:cubicBezTo>
                  <a:lnTo>
                    <a:pt x="286538" y="237272"/>
                  </a:lnTo>
                  <a:cubicBezTo>
                    <a:pt x="282328" y="239574"/>
                    <a:pt x="277268" y="239713"/>
                    <a:pt x="272937" y="237646"/>
                  </a:cubicBezTo>
                  <a:lnTo>
                    <a:pt x="237871" y="220882"/>
                  </a:lnTo>
                  <a:lnTo>
                    <a:pt x="237871" y="206697"/>
                  </a:lnTo>
                  <a:lnTo>
                    <a:pt x="278558" y="226040"/>
                  </a:lnTo>
                  <a:cubicBezTo>
                    <a:pt x="279141" y="226337"/>
                    <a:pt x="279832" y="226337"/>
                    <a:pt x="280415" y="226040"/>
                  </a:cubicBezTo>
                  <a:lnTo>
                    <a:pt x="380908" y="170964"/>
                  </a:lnTo>
                  <a:cubicBezTo>
                    <a:pt x="380912" y="170961"/>
                    <a:pt x="380916" y="170960"/>
                    <a:pt x="380920" y="170957"/>
                  </a:cubicBezTo>
                  <a:close/>
                  <a:moveTo>
                    <a:pt x="80730" y="162259"/>
                  </a:moveTo>
                  <a:cubicBezTo>
                    <a:pt x="85075" y="167869"/>
                    <a:pt x="91534" y="172924"/>
                    <a:pt x="99926" y="177140"/>
                  </a:cubicBezTo>
                  <a:cubicBezTo>
                    <a:pt x="115023" y="184775"/>
                    <a:pt x="134928" y="188901"/>
                    <a:pt x="156045" y="188901"/>
                  </a:cubicBezTo>
                  <a:cubicBezTo>
                    <a:pt x="177162" y="188901"/>
                    <a:pt x="197119" y="184723"/>
                    <a:pt x="212229" y="177140"/>
                  </a:cubicBezTo>
                  <a:cubicBezTo>
                    <a:pt x="220634" y="172924"/>
                    <a:pt x="227080" y="167869"/>
                    <a:pt x="231425" y="162259"/>
                  </a:cubicBezTo>
                  <a:lnTo>
                    <a:pt x="231425" y="182453"/>
                  </a:lnTo>
                  <a:cubicBezTo>
                    <a:pt x="230432" y="202893"/>
                    <a:pt x="197106" y="219322"/>
                    <a:pt x="156097" y="219322"/>
                  </a:cubicBezTo>
                  <a:cubicBezTo>
                    <a:pt x="115100" y="219322"/>
                    <a:pt x="81761" y="202893"/>
                    <a:pt x="80730" y="182453"/>
                  </a:cubicBezTo>
                  <a:close/>
                  <a:moveTo>
                    <a:pt x="382476" y="154175"/>
                  </a:moveTo>
                  <a:cubicBezTo>
                    <a:pt x="384036" y="153333"/>
                    <a:pt x="385984" y="153915"/>
                    <a:pt x="386826" y="155476"/>
                  </a:cubicBezTo>
                  <a:cubicBezTo>
                    <a:pt x="386830" y="155482"/>
                    <a:pt x="386833" y="155490"/>
                    <a:pt x="386837" y="155496"/>
                  </a:cubicBezTo>
                  <a:cubicBezTo>
                    <a:pt x="387679" y="157057"/>
                    <a:pt x="387096" y="159005"/>
                    <a:pt x="385536" y="159847"/>
                  </a:cubicBezTo>
                  <a:lnTo>
                    <a:pt x="284979" y="214834"/>
                  </a:lnTo>
                  <a:cubicBezTo>
                    <a:pt x="281677" y="216633"/>
                    <a:pt x="277714" y="216742"/>
                    <a:pt x="274317" y="215130"/>
                  </a:cubicBezTo>
                  <a:lnTo>
                    <a:pt x="237871" y="197747"/>
                  </a:lnTo>
                  <a:lnTo>
                    <a:pt x="237871" y="190603"/>
                  </a:lnTo>
                  <a:lnTo>
                    <a:pt x="277101" y="209315"/>
                  </a:lnTo>
                  <a:cubicBezTo>
                    <a:pt x="278630" y="210038"/>
                    <a:pt x="280413" y="209985"/>
                    <a:pt x="281897" y="209173"/>
                  </a:cubicBezTo>
                  <a:lnTo>
                    <a:pt x="382455" y="154186"/>
                  </a:lnTo>
                  <a:cubicBezTo>
                    <a:pt x="382462" y="154182"/>
                    <a:pt x="382469" y="154179"/>
                    <a:pt x="382476" y="154175"/>
                  </a:cubicBezTo>
                  <a:close/>
                  <a:moveTo>
                    <a:pt x="382455" y="138506"/>
                  </a:moveTo>
                  <a:cubicBezTo>
                    <a:pt x="384018" y="137655"/>
                    <a:pt x="385975" y="138232"/>
                    <a:pt x="386826" y="139795"/>
                  </a:cubicBezTo>
                  <a:cubicBezTo>
                    <a:pt x="386830" y="139802"/>
                    <a:pt x="386833" y="139810"/>
                    <a:pt x="386837" y="139816"/>
                  </a:cubicBezTo>
                  <a:cubicBezTo>
                    <a:pt x="387679" y="141376"/>
                    <a:pt x="387096" y="143325"/>
                    <a:pt x="385536" y="144167"/>
                  </a:cubicBezTo>
                  <a:lnTo>
                    <a:pt x="284979" y="199153"/>
                  </a:lnTo>
                  <a:cubicBezTo>
                    <a:pt x="281677" y="200952"/>
                    <a:pt x="277714" y="201062"/>
                    <a:pt x="274317" y="199450"/>
                  </a:cubicBezTo>
                  <a:lnTo>
                    <a:pt x="237871" y="182067"/>
                  </a:lnTo>
                  <a:lnTo>
                    <a:pt x="237871" y="174923"/>
                  </a:lnTo>
                  <a:lnTo>
                    <a:pt x="277101" y="193634"/>
                  </a:lnTo>
                  <a:cubicBezTo>
                    <a:pt x="278630" y="194355"/>
                    <a:pt x="280410" y="194307"/>
                    <a:pt x="281897" y="193505"/>
                  </a:cubicBezTo>
                  <a:close/>
                  <a:moveTo>
                    <a:pt x="40365" y="112470"/>
                  </a:moveTo>
                  <a:lnTo>
                    <a:pt x="78319" y="130523"/>
                  </a:lnTo>
                  <a:cubicBezTo>
                    <a:pt x="76023" y="134281"/>
                    <a:pt x="74660" y="138535"/>
                    <a:pt x="74348" y="142929"/>
                  </a:cubicBezTo>
                  <a:lnTo>
                    <a:pt x="34821" y="124076"/>
                  </a:lnTo>
                  <a:cubicBezTo>
                    <a:pt x="32035" y="122491"/>
                    <a:pt x="30836" y="119098"/>
                    <a:pt x="32008" y="116114"/>
                  </a:cubicBezTo>
                  <a:cubicBezTo>
                    <a:pt x="33310" y="112800"/>
                    <a:pt x="37051" y="111169"/>
                    <a:pt x="40365" y="112470"/>
                  </a:cubicBezTo>
                  <a:close/>
                  <a:moveTo>
                    <a:pt x="156097" y="106834"/>
                  </a:moveTo>
                  <a:cubicBezTo>
                    <a:pt x="197728" y="106834"/>
                    <a:pt x="231477" y="123762"/>
                    <a:pt x="231477" y="144644"/>
                  </a:cubicBezTo>
                  <a:cubicBezTo>
                    <a:pt x="231477" y="165525"/>
                    <a:pt x="197728" y="182453"/>
                    <a:pt x="156097" y="182453"/>
                  </a:cubicBezTo>
                  <a:cubicBezTo>
                    <a:pt x="114466" y="182453"/>
                    <a:pt x="80717" y="165525"/>
                    <a:pt x="80717" y="144644"/>
                  </a:cubicBezTo>
                  <a:cubicBezTo>
                    <a:pt x="80717" y="123762"/>
                    <a:pt x="114466" y="106834"/>
                    <a:pt x="156097" y="106834"/>
                  </a:cubicBezTo>
                  <a:close/>
                  <a:moveTo>
                    <a:pt x="38985" y="95706"/>
                  </a:moveTo>
                  <a:lnTo>
                    <a:pt x="88465" y="119317"/>
                  </a:lnTo>
                  <a:cubicBezTo>
                    <a:pt x="86638" y="120754"/>
                    <a:pt x="84914" y="122318"/>
                    <a:pt x="83308" y="123998"/>
                  </a:cubicBezTo>
                  <a:lnTo>
                    <a:pt x="36200" y="101522"/>
                  </a:lnTo>
                  <a:cubicBezTo>
                    <a:pt x="34595" y="100753"/>
                    <a:pt x="33917" y="98826"/>
                    <a:pt x="34686" y="97221"/>
                  </a:cubicBezTo>
                  <a:cubicBezTo>
                    <a:pt x="35454" y="95615"/>
                    <a:pt x="37380" y="94937"/>
                    <a:pt x="38985" y="95706"/>
                  </a:cubicBezTo>
                  <a:close/>
                  <a:moveTo>
                    <a:pt x="38998" y="80024"/>
                  </a:moveTo>
                  <a:lnTo>
                    <a:pt x="103136" y="110625"/>
                  </a:lnTo>
                  <a:cubicBezTo>
                    <a:pt x="102040" y="111115"/>
                    <a:pt x="100970" y="111618"/>
                    <a:pt x="99926" y="112147"/>
                  </a:cubicBezTo>
                  <a:cubicBezTo>
                    <a:pt x="98508" y="112843"/>
                    <a:pt x="97193" y="113578"/>
                    <a:pt x="95916" y="114326"/>
                  </a:cubicBezTo>
                  <a:lnTo>
                    <a:pt x="36213" y="85853"/>
                  </a:lnTo>
                  <a:cubicBezTo>
                    <a:pt x="34604" y="85084"/>
                    <a:pt x="33924" y="83155"/>
                    <a:pt x="34692" y="81546"/>
                  </a:cubicBezTo>
                  <a:cubicBezTo>
                    <a:pt x="35460" y="79936"/>
                    <a:pt x="37389" y="79256"/>
                    <a:pt x="38998" y="80024"/>
                  </a:cubicBezTo>
                  <a:close/>
                  <a:moveTo>
                    <a:pt x="161808" y="21904"/>
                  </a:moveTo>
                  <a:cubicBezTo>
                    <a:pt x="155821" y="25550"/>
                    <a:pt x="148924" y="27428"/>
                    <a:pt x="141916" y="27321"/>
                  </a:cubicBezTo>
                  <a:cubicBezTo>
                    <a:pt x="135430" y="27393"/>
                    <a:pt x="129035" y="25790"/>
                    <a:pt x="123351" y="22665"/>
                  </a:cubicBezTo>
                  <a:lnTo>
                    <a:pt x="86042" y="42602"/>
                  </a:lnTo>
                  <a:cubicBezTo>
                    <a:pt x="89484" y="45782"/>
                    <a:pt x="91492" y="50219"/>
                    <a:pt x="91611" y="54904"/>
                  </a:cubicBezTo>
                  <a:cubicBezTo>
                    <a:pt x="91611" y="62551"/>
                    <a:pt x="85861" y="69244"/>
                    <a:pt x="77275" y="72958"/>
                  </a:cubicBezTo>
                  <a:lnTo>
                    <a:pt x="114958" y="90921"/>
                  </a:lnTo>
                  <a:lnTo>
                    <a:pt x="204352" y="41996"/>
                  </a:lnTo>
                  <a:close/>
                  <a:moveTo>
                    <a:pt x="148529" y="1413"/>
                  </a:moveTo>
                  <a:lnTo>
                    <a:pt x="386491" y="113605"/>
                  </a:lnTo>
                  <a:lnTo>
                    <a:pt x="386542" y="113579"/>
                  </a:lnTo>
                  <a:cubicBezTo>
                    <a:pt x="387794" y="114172"/>
                    <a:pt x="388827" y="115143"/>
                    <a:pt x="389496" y="116356"/>
                  </a:cubicBezTo>
                  <a:cubicBezTo>
                    <a:pt x="391256" y="119549"/>
                    <a:pt x="390095" y="123565"/>
                    <a:pt x="386903" y="125327"/>
                  </a:cubicBezTo>
                  <a:lnTo>
                    <a:pt x="286629" y="180184"/>
                  </a:lnTo>
                  <a:cubicBezTo>
                    <a:pt x="282418" y="182486"/>
                    <a:pt x="277358" y="182625"/>
                    <a:pt x="273028" y="180558"/>
                  </a:cubicBezTo>
                  <a:lnTo>
                    <a:pt x="232341" y="161150"/>
                  </a:lnTo>
                  <a:cubicBezTo>
                    <a:pt x="234919" y="157652"/>
                    <a:pt x="236681" y="153619"/>
                    <a:pt x="237497" y="149351"/>
                  </a:cubicBezTo>
                  <a:lnTo>
                    <a:pt x="254863" y="157630"/>
                  </a:lnTo>
                  <a:cubicBezTo>
                    <a:pt x="259942" y="151130"/>
                    <a:pt x="269676" y="146733"/>
                    <a:pt x="280866" y="146733"/>
                  </a:cubicBezTo>
                  <a:cubicBezTo>
                    <a:pt x="290741" y="146733"/>
                    <a:pt x="299508" y="150176"/>
                    <a:pt x="304923" y="155463"/>
                  </a:cubicBezTo>
                  <a:lnTo>
                    <a:pt x="346177" y="132883"/>
                  </a:lnTo>
                  <a:cubicBezTo>
                    <a:pt x="341381" y="129157"/>
                    <a:pt x="338442" y="124179"/>
                    <a:pt x="338442" y="118698"/>
                  </a:cubicBezTo>
                  <a:cubicBezTo>
                    <a:pt x="338514" y="114488"/>
                    <a:pt x="340162" y="110458"/>
                    <a:pt x="343057" y="107402"/>
                  </a:cubicBezTo>
                  <a:lnTo>
                    <a:pt x="298232" y="86202"/>
                  </a:lnTo>
                  <a:lnTo>
                    <a:pt x="229027" y="124063"/>
                  </a:lnTo>
                  <a:cubicBezTo>
                    <a:pt x="224203" y="119146"/>
                    <a:pt x="218558" y="115109"/>
                    <a:pt x="212345" y="112134"/>
                  </a:cubicBezTo>
                  <a:cubicBezTo>
                    <a:pt x="197235" y="104552"/>
                    <a:pt x="177279" y="100374"/>
                    <a:pt x="156161" y="100374"/>
                  </a:cubicBezTo>
                  <a:cubicBezTo>
                    <a:pt x="142684" y="100292"/>
                    <a:pt x="129263" y="102120"/>
                    <a:pt x="116299" y="105803"/>
                  </a:cubicBezTo>
                  <a:lnTo>
                    <a:pt x="35079" y="67116"/>
                  </a:lnTo>
                  <a:cubicBezTo>
                    <a:pt x="33810" y="66510"/>
                    <a:pt x="32767" y="65515"/>
                    <a:pt x="32103" y="64273"/>
                  </a:cubicBezTo>
                  <a:cubicBezTo>
                    <a:pt x="30388" y="61063"/>
                    <a:pt x="31600" y="57071"/>
                    <a:pt x="34809" y="55355"/>
                  </a:cubicBezTo>
                  <a:lnTo>
                    <a:pt x="135122" y="1749"/>
                  </a:lnTo>
                  <a:cubicBezTo>
                    <a:pt x="139291" y="-460"/>
                    <a:pt x="144254" y="-584"/>
                    <a:pt x="148529" y="1413"/>
                  </a:cubicBezTo>
                  <a:close/>
                </a:path>
              </a:pathLst>
            </a:custGeom>
            <a:solidFill>
              <a:srgbClr val="025EA1"/>
            </a:solidFill>
            <a:ln w="12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0" name="Группа 109">
            <a:extLst>
              <a:ext uri="{FF2B5EF4-FFF2-40B4-BE49-F238E27FC236}">
                <a16:creationId xmlns:a16="http://schemas.microsoft.com/office/drawing/2014/main" id="{59FF7BE1-A2B9-991C-CE9A-EA7C507E9661}"/>
              </a:ext>
            </a:extLst>
          </p:cNvPr>
          <p:cNvGrpSpPr/>
          <p:nvPr/>
        </p:nvGrpSpPr>
        <p:grpSpPr>
          <a:xfrm>
            <a:off x="5139301" y="816129"/>
            <a:ext cx="545669" cy="532613"/>
            <a:chOff x="6672628" y="1995183"/>
            <a:chExt cx="719999" cy="720000"/>
          </a:xfrm>
        </p:grpSpPr>
        <p:pic>
          <p:nvPicPr>
            <p:cNvPr id="118" name="Рисунок 117">
              <a:extLst>
                <a:ext uri="{FF2B5EF4-FFF2-40B4-BE49-F238E27FC236}">
                  <a16:creationId xmlns:a16="http://schemas.microsoft.com/office/drawing/2014/main" id="{2ABE9231-6548-ACCE-51BA-7FE3F05010E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/>
            <a:stretch/>
          </p:blipFill>
          <p:spPr>
            <a:xfrm>
              <a:off x="6672628" y="1995183"/>
              <a:ext cx="719999" cy="720000"/>
            </a:xfrm>
            <a:prstGeom prst="rect">
              <a:avLst/>
            </a:prstGeom>
          </p:spPr>
        </p:pic>
        <p:sp>
          <p:nvSpPr>
            <p:cNvPr id="119" name="Полилиния 64">
              <a:extLst>
                <a:ext uri="{FF2B5EF4-FFF2-40B4-BE49-F238E27FC236}">
                  <a16:creationId xmlns:a16="http://schemas.microsoft.com/office/drawing/2014/main" id="{D418FF1B-1539-D62E-BDFA-82FDBF6C50B0}"/>
                </a:ext>
              </a:extLst>
            </p:cNvPr>
            <p:cNvSpPr/>
            <p:nvPr/>
          </p:nvSpPr>
          <p:spPr>
            <a:xfrm>
              <a:off x="6807872" y="2131303"/>
              <a:ext cx="434608" cy="433342"/>
            </a:xfrm>
            <a:custGeom>
              <a:avLst/>
              <a:gdLst>
                <a:gd name="connsiteX0" fmla="*/ 291279 w 434608"/>
                <a:gd name="connsiteY0" fmla="*/ 214110 h 433342"/>
                <a:gd name="connsiteX1" fmla="*/ 215539 w 434608"/>
                <a:gd name="connsiteY1" fmla="*/ 318073 h 433342"/>
                <a:gd name="connsiteX2" fmla="*/ 319459 w 434608"/>
                <a:gd name="connsiteY2" fmla="*/ 393843 h 433342"/>
                <a:gd name="connsiteX3" fmla="*/ 395203 w 434608"/>
                <a:gd name="connsiteY3" fmla="*/ 289905 h 433342"/>
                <a:gd name="connsiteX4" fmla="*/ 395199 w 434608"/>
                <a:gd name="connsiteY4" fmla="*/ 289880 h 433342"/>
                <a:gd name="connsiteX5" fmla="*/ 291279 w 434608"/>
                <a:gd name="connsiteY5" fmla="*/ 214110 h 433342"/>
                <a:gd name="connsiteX6" fmla="*/ 307098 w 434608"/>
                <a:gd name="connsiteY6" fmla="*/ 174606 h 433342"/>
                <a:gd name="connsiteX7" fmla="*/ 312731 w 434608"/>
                <a:gd name="connsiteY7" fmla="*/ 174799 h 433342"/>
                <a:gd name="connsiteX8" fmla="*/ 338640 w 434608"/>
                <a:gd name="connsiteY8" fmla="*/ 178913 h 433342"/>
                <a:gd name="connsiteX9" fmla="*/ 344054 w 434608"/>
                <a:gd name="connsiteY9" fmla="*/ 180486 h 433342"/>
                <a:gd name="connsiteX10" fmla="*/ 345872 w 434608"/>
                <a:gd name="connsiteY10" fmla="*/ 194607 h 433342"/>
                <a:gd name="connsiteX11" fmla="*/ 352923 w 434608"/>
                <a:gd name="connsiteY11" fmla="*/ 204511 h 433342"/>
                <a:gd name="connsiteX12" fmla="*/ 358079 w 434608"/>
                <a:gd name="connsiteY12" fmla="*/ 207154 h 433342"/>
                <a:gd name="connsiteX13" fmla="*/ 364111 w 434608"/>
                <a:gd name="connsiteY13" fmla="*/ 208689 h 433342"/>
                <a:gd name="connsiteX14" fmla="*/ 370299 w 434608"/>
                <a:gd name="connsiteY14" fmla="*/ 207116 h 433342"/>
                <a:gd name="connsiteX15" fmla="*/ 382725 w 434608"/>
                <a:gd name="connsiteY15" fmla="*/ 200371 h 433342"/>
                <a:gd name="connsiteX16" fmla="*/ 387172 w 434608"/>
                <a:gd name="connsiteY16" fmla="*/ 203840 h 433342"/>
                <a:gd name="connsiteX17" fmla="*/ 405824 w 434608"/>
                <a:gd name="connsiteY17" fmla="*/ 222500 h 433342"/>
                <a:gd name="connsiteX18" fmla="*/ 409279 w 434608"/>
                <a:gd name="connsiteY18" fmla="*/ 226949 h 433342"/>
                <a:gd name="connsiteX19" fmla="*/ 402486 w 434608"/>
                <a:gd name="connsiteY19" fmla="*/ 239380 h 433342"/>
                <a:gd name="connsiteX20" fmla="*/ 402383 w 434608"/>
                <a:gd name="connsiteY20" fmla="*/ 251566 h 433342"/>
                <a:gd name="connsiteX21" fmla="*/ 404961 w 434608"/>
                <a:gd name="connsiteY21" fmla="*/ 256725 h 433342"/>
                <a:gd name="connsiteX22" fmla="*/ 414860 w 434608"/>
                <a:gd name="connsiteY22" fmla="*/ 263856 h 433342"/>
                <a:gd name="connsiteX23" fmla="*/ 428808 w 434608"/>
                <a:gd name="connsiteY23" fmla="*/ 265597 h 433342"/>
                <a:gd name="connsiteX24" fmla="*/ 430342 w 434608"/>
                <a:gd name="connsiteY24" fmla="*/ 271026 h 433342"/>
                <a:gd name="connsiteX25" fmla="*/ 433023 w 434608"/>
                <a:gd name="connsiteY25" fmla="*/ 283921 h 433342"/>
                <a:gd name="connsiteX26" fmla="*/ 434415 w 434608"/>
                <a:gd name="connsiteY26" fmla="*/ 296997 h 433342"/>
                <a:gd name="connsiteX27" fmla="*/ 434608 w 434608"/>
                <a:gd name="connsiteY27" fmla="*/ 302620 h 433342"/>
                <a:gd name="connsiteX28" fmla="*/ 421821 w 434608"/>
                <a:gd name="connsiteY28" fmla="*/ 308681 h 433342"/>
                <a:gd name="connsiteX29" fmla="*/ 414577 w 434608"/>
                <a:gd name="connsiteY29" fmla="*/ 318494 h 433342"/>
                <a:gd name="connsiteX30" fmla="*/ 413662 w 434608"/>
                <a:gd name="connsiteY30" fmla="*/ 324259 h 433342"/>
                <a:gd name="connsiteX31" fmla="*/ 417529 w 434608"/>
                <a:gd name="connsiteY31" fmla="*/ 335864 h 433342"/>
                <a:gd name="connsiteX32" fmla="*/ 427841 w 434608"/>
                <a:gd name="connsiteY32" fmla="*/ 345626 h 433342"/>
                <a:gd name="connsiteX33" fmla="*/ 425895 w 434608"/>
                <a:gd name="connsiteY33" fmla="*/ 350926 h 433342"/>
                <a:gd name="connsiteX34" fmla="*/ 413907 w 434608"/>
                <a:gd name="connsiteY34" fmla="*/ 374280 h 433342"/>
                <a:gd name="connsiteX35" fmla="*/ 410723 w 434608"/>
                <a:gd name="connsiteY35" fmla="*/ 378936 h 433342"/>
                <a:gd name="connsiteX36" fmla="*/ 396788 w 434608"/>
                <a:gd name="connsiteY36" fmla="*/ 376395 h 433342"/>
                <a:gd name="connsiteX37" fmla="*/ 394365 w 434608"/>
                <a:gd name="connsiteY37" fmla="*/ 376163 h 433342"/>
                <a:gd name="connsiteX38" fmla="*/ 385148 w 434608"/>
                <a:gd name="connsiteY38" fmla="*/ 380096 h 433342"/>
                <a:gd name="connsiteX39" fmla="*/ 381062 w 434608"/>
                <a:gd name="connsiteY39" fmla="*/ 384184 h 433342"/>
                <a:gd name="connsiteX40" fmla="*/ 377375 w 434608"/>
                <a:gd name="connsiteY40" fmla="*/ 395790 h 433342"/>
                <a:gd name="connsiteX41" fmla="*/ 379954 w 434608"/>
                <a:gd name="connsiteY41" fmla="*/ 409795 h 433342"/>
                <a:gd name="connsiteX42" fmla="*/ 375287 w 434608"/>
                <a:gd name="connsiteY42" fmla="*/ 412954 h 433342"/>
                <a:gd name="connsiteX43" fmla="*/ 351879 w 434608"/>
                <a:gd name="connsiteY43" fmla="*/ 424792 h 433342"/>
                <a:gd name="connsiteX44" fmla="*/ 346568 w 434608"/>
                <a:gd name="connsiteY44" fmla="*/ 426701 h 433342"/>
                <a:gd name="connsiteX45" fmla="*/ 336874 w 434608"/>
                <a:gd name="connsiteY45" fmla="*/ 416384 h 433342"/>
                <a:gd name="connsiteX46" fmla="*/ 325028 w 434608"/>
                <a:gd name="connsiteY46" fmla="*/ 412515 h 433342"/>
                <a:gd name="connsiteX47" fmla="*/ 322450 w 434608"/>
                <a:gd name="connsiteY47" fmla="*/ 412954 h 433342"/>
                <a:gd name="connsiteX48" fmla="*/ 319872 w 434608"/>
                <a:gd name="connsiteY48" fmla="*/ 413328 h 433342"/>
                <a:gd name="connsiteX49" fmla="*/ 309766 w 434608"/>
                <a:gd name="connsiteY49" fmla="*/ 420588 h 433342"/>
                <a:gd name="connsiteX50" fmla="*/ 303682 w 434608"/>
                <a:gd name="connsiteY50" fmla="*/ 433342 h 433342"/>
                <a:gd name="connsiteX51" fmla="*/ 298049 w 434608"/>
                <a:gd name="connsiteY51" fmla="*/ 433148 h 433342"/>
                <a:gd name="connsiteX52" fmla="*/ 272139 w 434608"/>
                <a:gd name="connsiteY52" fmla="*/ 429048 h 433342"/>
                <a:gd name="connsiteX53" fmla="*/ 266725 w 434608"/>
                <a:gd name="connsiteY53" fmla="*/ 427461 h 433342"/>
                <a:gd name="connsiteX54" fmla="*/ 264908 w 434608"/>
                <a:gd name="connsiteY54" fmla="*/ 413341 h 433342"/>
                <a:gd name="connsiteX55" fmla="*/ 257857 w 434608"/>
                <a:gd name="connsiteY55" fmla="*/ 403437 h 433342"/>
                <a:gd name="connsiteX56" fmla="*/ 252701 w 434608"/>
                <a:gd name="connsiteY56" fmla="*/ 400793 h 433342"/>
                <a:gd name="connsiteX57" fmla="*/ 246668 w 434608"/>
                <a:gd name="connsiteY57" fmla="*/ 399259 h 433342"/>
                <a:gd name="connsiteX58" fmla="*/ 240481 w 434608"/>
                <a:gd name="connsiteY58" fmla="*/ 400819 h 433342"/>
                <a:gd name="connsiteX59" fmla="*/ 228029 w 434608"/>
                <a:gd name="connsiteY59" fmla="*/ 407589 h 433342"/>
                <a:gd name="connsiteX60" fmla="*/ 223569 w 434608"/>
                <a:gd name="connsiteY60" fmla="*/ 404120 h 433342"/>
                <a:gd name="connsiteX61" fmla="*/ 205007 w 434608"/>
                <a:gd name="connsiteY61" fmla="*/ 385551 h 433342"/>
                <a:gd name="connsiteX62" fmla="*/ 201552 w 434608"/>
                <a:gd name="connsiteY62" fmla="*/ 381115 h 433342"/>
                <a:gd name="connsiteX63" fmla="*/ 208384 w 434608"/>
                <a:gd name="connsiteY63" fmla="*/ 368593 h 433342"/>
                <a:gd name="connsiteX64" fmla="*/ 208487 w 434608"/>
                <a:gd name="connsiteY64" fmla="*/ 356420 h 433342"/>
                <a:gd name="connsiteX65" fmla="*/ 205909 w 434608"/>
                <a:gd name="connsiteY65" fmla="*/ 351262 h 433342"/>
                <a:gd name="connsiteX66" fmla="*/ 196009 w 434608"/>
                <a:gd name="connsiteY66" fmla="*/ 344118 h 433342"/>
                <a:gd name="connsiteX67" fmla="*/ 181985 w 434608"/>
                <a:gd name="connsiteY67" fmla="*/ 342274 h 433342"/>
                <a:gd name="connsiteX68" fmla="*/ 180438 w 434608"/>
                <a:gd name="connsiteY68" fmla="*/ 336857 h 433342"/>
                <a:gd name="connsiteX69" fmla="*/ 177757 w 434608"/>
                <a:gd name="connsiteY69" fmla="*/ 323962 h 433342"/>
                <a:gd name="connsiteX70" fmla="*/ 176377 w 434608"/>
                <a:gd name="connsiteY70" fmla="*/ 310886 h 433342"/>
                <a:gd name="connsiteX71" fmla="*/ 176184 w 434608"/>
                <a:gd name="connsiteY71" fmla="*/ 305251 h 433342"/>
                <a:gd name="connsiteX72" fmla="*/ 188971 w 434608"/>
                <a:gd name="connsiteY72" fmla="*/ 299190 h 433342"/>
                <a:gd name="connsiteX73" fmla="*/ 196215 w 434608"/>
                <a:gd name="connsiteY73" fmla="*/ 289376 h 433342"/>
                <a:gd name="connsiteX74" fmla="*/ 197131 w 434608"/>
                <a:gd name="connsiteY74" fmla="*/ 283612 h 433342"/>
                <a:gd name="connsiteX75" fmla="*/ 193264 w 434608"/>
                <a:gd name="connsiteY75" fmla="*/ 272006 h 433342"/>
                <a:gd name="connsiteX76" fmla="*/ 182951 w 434608"/>
                <a:gd name="connsiteY76" fmla="*/ 262244 h 433342"/>
                <a:gd name="connsiteX77" fmla="*/ 184898 w 434608"/>
                <a:gd name="connsiteY77" fmla="*/ 256957 h 433342"/>
                <a:gd name="connsiteX78" fmla="*/ 196886 w 434608"/>
                <a:gd name="connsiteY78" fmla="*/ 233603 h 433342"/>
                <a:gd name="connsiteX79" fmla="*/ 200070 w 434608"/>
                <a:gd name="connsiteY79" fmla="*/ 228935 h 433342"/>
                <a:gd name="connsiteX80" fmla="*/ 213991 w 434608"/>
                <a:gd name="connsiteY80" fmla="*/ 231514 h 433342"/>
                <a:gd name="connsiteX81" fmla="*/ 216415 w 434608"/>
                <a:gd name="connsiteY81" fmla="*/ 231733 h 433342"/>
                <a:gd name="connsiteX82" fmla="*/ 225631 w 434608"/>
                <a:gd name="connsiteY82" fmla="*/ 227865 h 433342"/>
                <a:gd name="connsiteX83" fmla="*/ 229717 w 434608"/>
                <a:gd name="connsiteY83" fmla="*/ 223764 h 433342"/>
                <a:gd name="connsiteX84" fmla="*/ 233404 w 434608"/>
                <a:gd name="connsiteY84" fmla="*/ 212158 h 433342"/>
                <a:gd name="connsiteX85" fmla="*/ 230826 w 434608"/>
                <a:gd name="connsiteY85" fmla="*/ 198166 h 433342"/>
                <a:gd name="connsiteX86" fmla="*/ 235492 w 434608"/>
                <a:gd name="connsiteY86" fmla="*/ 195007 h 433342"/>
                <a:gd name="connsiteX87" fmla="*/ 258901 w 434608"/>
                <a:gd name="connsiteY87" fmla="*/ 183156 h 433342"/>
                <a:gd name="connsiteX88" fmla="*/ 264212 w 434608"/>
                <a:gd name="connsiteY88" fmla="*/ 181247 h 433342"/>
                <a:gd name="connsiteX89" fmla="*/ 273905 w 434608"/>
                <a:gd name="connsiteY89" fmla="*/ 191564 h 433342"/>
                <a:gd name="connsiteX90" fmla="*/ 285751 w 434608"/>
                <a:gd name="connsiteY90" fmla="*/ 195432 h 433342"/>
                <a:gd name="connsiteX91" fmla="*/ 288329 w 434608"/>
                <a:gd name="connsiteY91" fmla="*/ 194994 h 433342"/>
                <a:gd name="connsiteX92" fmla="*/ 290907 w 434608"/>
                <a:gd name="connsiteY92" fmla="*/ 194620 h 433342"/>
                <a:gd name="connsiteX93" fmla="*/ 301013 w 434608"/>
                <a:gd name="connsiteY93" fmla="*/ 187373 h 433342"/>
                <a:gd name="connsiteX94" fmla="*/ 174624 w 434608"/>
                <a:gd name="connsiteY94" fmla="*/ 65265 h 433342"/>
                <a:gd name="connsiteX95" fmla="*/ 182211 w 434608"/>
                <a:gd name="connsiteY95" fmla="*/ 65542 h 433342"/>
                <a:gd name="connsiteX96" fmla="*/ 283818 w 434608"/>
                <a:gd name="connsiteY96" fmla="*/ 182795 h 433342"/>
                <a:gd name="connsiteX97" fmla="*/ 283392 w 434608"/>
                <a:gd name="connsiteY97" fmla="*/ 182872 h 433342"/>
                <a:gd name="connsiteX98" fmla="*/ 283238 w 434608"/>
                <a:gd name="connsiteY98" fmla="*/ 182872 h 433342"/>
                <a:gd name="connsiteX99" fmla="*/ 273570 w 434608"/>
                <a:gd name="connsiteY99" fmla="*/ 172556 h 433342"/>
                <a:gd name="connsiteX100" fmla="*/ 270992 w 434608"/>
                <a:gd name="connsiteY100" fmla="*/ 169886 h 433342"/>
                <a:gd name="connsiteX101" fmla="*/ 270051 w 434608"/>
                <a:gd name="connsiteY101" fmla="*/ 160563 h 433342"/>
                <a:gd name="connsiteX102" fmla="*/ 174586 w 434608"/>
                <a:gd name="connsiteY102" fmla="*/ 78186 h 433342"/>
                <a:gd name="connsiteX103" fmla="*/ 160097 w 434608"/>
                <a:gd name="connsiteY103" fmla="*/ 79270 h 433342"/>
                <a:gd name="connsiteX104" fmla="*/ 77755 w 434608"/>
                <a:gd name="connsiteY104" fmla="*/ 174401 h 433342"/>
                <a:gd name="connsiteX105" fmla="*/ 173915 w 434608"/>
                <a:gd name="connsiteY105" fmla="*/ 271632 h 433342"/>
                <a:gd name="connsiteX106" fmla="*/ 174018 w 434608"/>
                <a:gd name="connsiteY106" fmla="*/ 271722 h 433342"/>
                <a:gd name="connsiteX107" fmla="*/ 184331 w 434608"/>
                <a:gd name="connsiteY107" fmla="*/ 281484 h 433342"/>
                <a:gd name="connsiteX108" fmla="*/ 183879 w 434608"/>
                <a:gd name="connsiteY108" fmla="*/ 284063 h 433342"/>
                <a:gd name="connsiteX109" fmla="*/ 174341 w 434608"/>
                <a:gd name="connsiteY109" fmla="*/ 284489 h 433342"/>
                <a:gd name="connsiteX110" fmla="*/ 64915 w 434608"/>
                <a:gd name="connsiteY110" fmla="*/ 174735 h 433342"/>
                <a:gd name="connsiteX111" fmla="*/ 174624 w 434608"/>
                <a:gd name="connsiteY111" fmla="*/ 65265 h 433342"/>
                <a:gd name="connsiteX112" fmla="*/ 174134 w 434608"/>
                <a:gd name="connsiteY112" fmla="*/ 51080 h 433342"/>
                <a:gd name="connsiteX113" fmla="*/ 229781 w 434608"/>
                <a:gd name="connsiteY113" fmla="*/ 64298 h 433342"/>
                <a:gd name="connsiteX114" fmla="*/ 296875 w 434608"/>
                <a:gd name="connsiteY114" fmla="*/ 166172 h 433342"/>
                <a:gd name="connsiteX115" fmla="*/ 295522 w 434608"/>
                <a:gd name="connsiteY115" fmla="*/ 168984 h 433342"/>
                <a:gd name="connsiteX116" fmla="*/ 290637 w 434608"/>
                <a:gd name="connsiteY116" fmla="*/ 179300 h 433342"/>
                <a:gd name="connsiteX117" fmla="*/ 290747 w 434608"/>
                <a:gd name="connsiteY117" fmla="*/ 174330 h 433342"/>
                <a:gd name="connsiteX118" fmla="*/ 174228 w 434608"/>
                <a:gd name="connsiteY118" fmla="*/ 57515 h 433342"/>
                <a:gd name="connsiteX119" fmla="*/ 57459 w 434608"/>
                <a:gd name="connsiteY119" fmla="*/ 174082 h 433342"/>
                <a:gd name="connsiteX120" fmla="*/ 173979 w 434608"/>
                <a:gd name="connsiteY120" fmla="*/ 290898 h 433342"/>
                <a:gd name="connsiteX121" fmla="*/ 176416 w 434608"/>
                <a:gd name="connsiteY121" fmla="*/ 290898 h 433342"/>
                <a:gd name="connsiteX122" fmla="*/ 170615 w 434608"/>
                <a:gd name="connsiteY122" fmla="*/ 293645 h 433342"/>
                <a:gd name="connsiteX123" fmla="*/ 163590 w 434608"/>
                <a:gd name="connsiteY123" fmla="*/ 296972 h 433342"/>
                <a:gd name="connsiteX124" fmla="*/ 118480 w 434608"/>
                <a:gd name="connsiteY124" fmla="*/ 284124 h 433342"/>
                <a:gd name="connsiteX125" fmla="*/ 64270 w 434608"/>
                <a:gd name="connsiteY125" fmla="*/ 118523 h 433342"/>
                <a:gd name="connsiteX126" fmla="*/ 174134 w 434608"/>
                <a:gd name="connsiteY126" fmla="*/ 51080 h 433342"/>
                <a:gd name="connsiteX127" fmla="*/ 169984 w 434608"/>
                <a:gd name="connsiteY127" fmla="*/ 0 h 433342"/>
                <a:gd name="connsiteX128" fmla="*/ 178595 w 434608"/>
                <a:gd name="connsiteY128" fmla="*/ 529 h 433342"/>
                <a:gd name="connsiteX129" fmla="*/ 185556 w 434608"/>
                <a:gd name="connsiteY129" fmla="*/ 954 h 433342"/>
                <a:gd name="connsiteX130" fmla="*/ 220424 w 434608"/>
                <a:gd name="connsiteY130" fmla="*/ 6719 h 433342"/>
                <a:gd name="connsiteX131" fmla="*/ 227140 w 434608"/>
                <a:gd name="connsiteY131" fmla="*/ 8563 h 433342"/>
                <a:gd name="connsiteX132" fmla="*/ 235480 w 434608"/>
                <a:gd name="connsiteY132" fmla="*/ 10845 h 433342"/>
                <a:gd name="connsiteX133" fmla="*/ 236524 w 434608"/>
                <a:gd name="connsiteY133" fmla="*/ 19434 h 433342"/>
                <a:gd name="connsiteX134" fmla="*/ 239179 w 434608"/>
                <a:gd name="connsiteY134" fmla="*/ 41356 h 433342"/>
                <a:gd name="connsiteX135" fmla="*/ 239347 w 434608"/>
                <a:gd name="connsiteY135" fmla="*/ 41485 h 433342"/>
                <a:gd name="connsiteX136" fmla="*/ 246333 w 434608"/>
                <a:gd name="connsiteY136" fmla="*/ 45134 h 433342"/>
                <a:gd name="connsiteX137" fmla="*/ 246488 w 434608"/>
                <a:gd name="connsiteY137" fmla="*/ 45212 h 433342"/>
                <a:gd name="connsiteX138" fmla="*/ 265823 w 434608"/>
                <a:gd name="connsiteY138" fmla="*/ 34895 h 433342"/>
                <a:gd name="connsiteX139" fmla="*/ 273442 w 434608"/>
                <a:gd name="connsiteY139" fmla="*/ 30820 h 433342"/>
                <a:gd name="connsiteX140" fmla="*/ 280106 w 434608"/>
                <a:gd name="connsiteY140" fmla="*/ 36327 h 433342"/>
                <a:gd name="connsiteX141" fmla="*/ 285481 w 434608"/>
                <a:gd name="connsiteY141" fmla="*/ 40763 h 433342"/>
                <a:gd name="connsiteX142" fmla="*/ 310346 w 434608"/>
                <a:gd name="connsiteY142" fmla="*/ 65973 h 433342"/>
                <a:gd name="connsiteX143" fmla="*/ 314716 w 434608"/>
                <a:gd name="connsiteY143" fmla="*/ 71402 h 433342"/>
                <a:gd name="connsiteX144" fmla="*/ 320143 w 434608"/>
                <a:gd name="connsiteY144" fmla="*/ 78160 h 433342"/>
                <a:gd name="connsiteX145" fmla="*/ 315928 w 434608"/>
                <a:gd name="connsiteY145" fmla="*/ 85729 h 433342"/>
                <a:gd name="connsiteX146" fmla="*/ 305281 w 434608"/>
                <a:gd name="connsiteY146" fmla="*/ 104905 h 433342"/>
                <a:gd name="connsiteX147" fmla="*/ 305281 w 434608"/>
                <a:gd name="connsiteY147" fmla="*/ 105111 h 433342"/>
                <a:gd name="connsiteX148" fmla="*/ 308851 w 434608"/>
                <a:gd name="connsiteY148" fmla="*/ 112230 h 433342"/>
                <a:gd name="connsiteX149" fmla="*/ 308928 w 434608"/>
                <a:gd name="connsiteY149" fmla="*/ 112384 h 433342"/>
                <a:gd name="connsiteX150" fmla="*/ 330649 w 434608"/>
                <a:gd name="connsiteY150" fmla="*/ 115389 h 433342"/>
                <a:gd name="connsiteX151" fmla="*/ 339234 w 434608"/>
                <a:gd name="connsiteY151" fmla="*/ 116575 h 433342"/>
                <a:gd name="connsiteX152" fmla="*/ 341373 w 434608"/>
                <a:gd name="connsiteY152" fmla="*/ 124983 h 433342"/>
                <a:gd name="connsiteX153" fmla="*/ 343088 w 434608"/>
                <a:gd name="connsiteY153" fmla="*/ 131728 h 433342"/>
                <a:gd name="connsiteX154" fmla="*/ 346581 w 434608"/>
                <a:gd name="connsiteY154" fmla="*/ 149059 h 433342"/>
                <a:gd name="connsiteX155" fmla="*/ 348321 w 434608"/>
                <a:gd name="connsiteY155" fmla="*/ 166649 h 433342"/>
                <a:gd name="connsiteX156" fmla="*/ 348399 w 434608"/>
                <a:gd name="connsiteY156" fmla="*/ 168364 h 433342"/>
                <a:gd name="connsiteX157" fmla="*/ 347947 w 434608"/>
                <a:gd name="connsiteY157" fmla="*/ 168222 h 433342"/>
                <a:gd name="connsiteX158" fmla="*/ 341979 w 434608"/>
                <a:gd name="connsiteY158" fmla="*/ 166481 h 433342"/>
                <a:gd name="connsiteX159" fmla="*/ 335302 w 434608"/>
                <a:gd name="connsiteY159" fmla="*/ 164882 h 433342"/>
                <a:gd name="connsiteX160" fmla="*/ 333832 w 434608"/>
                <a:gd name="connsiteY160" fmla="*/ 150968 h 433342"/>
                <a:gd name="connsiteX161" fmla="*/ 330584 w 434608"/>
                <a:gd name="connsiteY161" fmla="*/ 134900 h 433342"/>
                <a:gd name="connsiteX162" fmla="*/ 328960 w 434608"/>
                <a:gd name="connsiteY162" fmla="*/ 128091 h 433342"/>
                <a:gd name="connsiteX163" fmla="*/ 307240 w 434608"/>
                <a:gd name="connsiteY163" fmla="*/ 125087 h 433342"/>
                <a:gd name="connsiteX164" fmla="*/ 297250 w 434608"/>
                <a:gd name="connsiteY164" fmla="*/ 117620 h 433342"/>
                <a:gd name="connsiteX165" fmla="*/ 294002 w 434608"/>
                <a:gd name="connsiteY165" fmla="*/ 111172 h 433342"/>
                <a:gd name="connsiteX166" fmla="*/ 294002 w 434608"/>
                <a:gd name="connsiteY166" fmla="*/ 98689 h 433342"/>
                <a:gd name="connsiteX167" fmla="*/ 304675 w 434608"/>
                <a:gd name="connsiteY167" fmla="*/ 79449 h 433342"/>
                <a:gd name="connsiteX168" fmla="*/ 300318 w 434608"/>
                <a:gd name="connsiteY168" fmla="*/ 74059 h 433342"/>
                <a:gd name="connsiteX169" fmla="*/ 277334 w 434608"/>
                <a:gd name="connsiteY169" fmla="*/ 50770 h 433342"/>
                <a:gd name="connsiteX170" fmla="*/ 271959 w 434608"/>
                <a:gd name="connsiteY170" fmla="*/ 46334 h 433342"/>
                <a:gd name="connsiteX171" fmla="*/ 252624 w 434608"/>
                <a:gd name="connsiteY171" fmla="*/ 56650 h 433342"/>
                <a:gd name="connsiteX172" fmla="*/ 246591 w 434608"/>
                <a:gd name="connsiteY172" fmla="*/ 58159 h 433342"/>
                <a:gd name="connsiteX173" fmla="*/ 240146 w 434608"/>
                <a:gd name="connsiteY173" fmla="*/ 56469 h 433342"/>
                <a:gd name="connsiteX174" fmla="*/ 233701 w 434608"/>
                <a:gd name="connsiteY174" fmla="*/ 53142 h 433342"/>
                <a:gd name="connsiteX175" fmla="*/ 226418 w 434608"/>
                <a:gd name="connsiteY175" fmla="*/ 43045 h 433342"/>
                <a:gd name="connsiteX176" fmla="*/ 223749 w 434608"/>
                <a:gd name="connsiteY176" fmla="*/ 21123 h 433342"/>
                <a:gd name="connsiteX177" fmla="*/ 217034 w 434608"/>
                <a:gd name="connsiteY177" fmla="*/ 19292 h 433342"/>
                <a:gd name="connsiteX178" fmla="*/ 184808 w 434608"/>
                <a:gd name="connsiteY178" fmla="*/ 13953 h 433342"/>
                <a:gd name="connsiteX179" fmla="*/ 177847 w 434608"/>
                <a:gd name="connsiteY179" fmla="*/ 13527 h 433342"/>
                <a:gd name="connsiteX180" fmla="*/ 168270 w 434608"/>
                <a:gd name="connsiteY180" fmla="*/ 33283 h 433342"/>
                <a:gd name="connsiteX181" fmla="*/ 158074 w 434608"/>
                <a:gd name="connsiteY181" fmla="*/ 40466 h 433342"/>
                <a:gd name="connsiteX182" fmla="*/ 154477 w 434608"/>
                <a:gd name="connsiteY182" fmla="*/ 40956 h 433342"/>
                <a:gd name="connsiteX183" fmla="*/ 150894 w 434608"/>
                <a:gd name="connsiteY183" fmla="*/ 41549 h 433342"/>
                <a:gd name="connsiteX184" fmla="*/ 148535 w 434608"/>
                <a:gd name="connsiteY184" fmla="*/ 41756 h 433342"/>
                <a:gd name="connsiteX185" fmla="*/ 139035 w 434608"/>
                <a:gd name="connsiteY185" fmla="*/ 37668 h 433342"/>
                <a:gd name="connsiteX186" fmla="*/ 124082 w 434608"/>
                <a:gd name="connsiteY186" fmla="*/ 21600 h 433342"/>
                <a:gd name="connsiteX187" fmla="*/ 117559 w 434608"/>
                <a:gd name="connsiteY187" fmla="*/ 24050 h 433342"/>
                <a:gd name="connsiteX188" fmla="*/ 88298 w 434608"/>
                <a:gd name="connsiteY188" fmla="*/ 38622 h 433342"/>
                <a:gd name="connsiteX189" fmla="*/ 82420 w 434608"/>
                <a:gd name="connsiteY189" fmla="*/ 42349 h 433342"/>
                <a:gd name="connsiteX190" fmla="*/ 86288 w 434608"/>
                <a:gd name="connsiteY190" fmla="*/ 64078 h 433342"/>
                <a:gd name="connsiteX191" fmla="*/ 82292 w 434608"/>
                <a:gd name="connsiteY191" fmla="*/ 75877 h 433342"/>
                <a:gd name="connsiteX192" fmla="*/ 77135 w 434608"/>
                <a:gd name="connsiteY192" fmla="*/ 80932 h 433342"/>
                <a:gd name="connsiteX193" fmla="*/ 65263 w 434608"/>
                <a:gd name="connsiteY193" fmla="*/ 84801 h 433342"/>
                <a:gd name="connsiteX194" fmla="*/ 43685 w 434608"/>
                <a:gd name="connsiteY194" fmla="*/ 80584 h 433342"/>
                <a:gd name="connsiteX195" fmla="*/ 39818 w 434608"/>
                <a:gd name="connsiteY195" fmla="*/ 86400 h 433342"/>
                <a:gd name="connsiteX196" fmla="*/ 24672 w 434608"/>
                <a:gd name="connsiteY196" fmla="*/ 115415 h 433342"/>
                <a:gd name="connsiteX197" fmla="*/ 22094 w 434608"/>
                <a:gd name="connsiteY197" fmla="*/ 121863 h 433342"/>
                <a:gd name="connsiteX198" fmla="*/ 37936 w 434608"/>
                <a:gd name="connsiteY198" fmla="*/ 137105 h 433342"/>
                <a:gd name="connsiteX199" fmla="*/ 41623 w 434608"/>
                <a:gd name="connsiteY199" fmla="*/ 149046 h 433342"/>
                <a:gd name="connsiteX200" fmla="*/ 40424 w 434608"/>
                <a:gd name="connsiteY200" fmla="*/ 156203 h 433342"/>
                <a:gd name="connsiteX201" fmla="*/ 33076 w 434608"/>
                <a:gd name="connsiteY201" fmla="*/ 166275 h 433342"/>
                <a:gd name="connsiteX202" fmla="*/ 13187 w 434608"/>
                <a:gd name="connsiteY202" fmla="*/ 175534 h 433342"/>
                <a:gd name="connsiteX203" fmla="*/ 13522 w 434608"/>
                <a:gd name="connsiteY203" fmla="*/ 182485 h 433342"/>
                <a:gd name="connsiteX204" fmla="*/ 15133 w 434608"/>
                <a:gd name="connsiteY204" fmla="*/ 198784 h 433342"/>
                <a:gd name="connsiteX205" fmla="*/ 18382 w 434608"/>
                <a:gd name="connsiteY205" fmla="*/ 214852 h 433342"/>
                <a:gd name="connsiteX206" fmla="*/ 20122 w 434608"/>
                <a:gd name="connsiteY206" fmla="*/ 221622 h 433342"/>
                <a:gd name="connsiteX207" fmla="*/ 41855 w 434608"/>
                <a:gd name="connsiteY207" fmla="*/ 224627 h 433342"/>
                <a:gd name="connsiteX208" fmla="*/ 51832 w 434608"/>
                <a:gd name="connsiteY208" fmla="*/ 232094 h 433342"/>
                <a:gd name="connsiteX209" fmla="*/ 55080 w 434608"/>
                <a:gd name="connsiteY209" fmla="*/ 238541 h 433342"/>
                <a:gd name="connsiteX210" fmla="*/ 55080 w 434608"/>
                <a:gd name="connsiteY210" fmla="*/ 251024 h 433342"/>
                <a:gd name="connsiteX211" fmla="*/ 44407 w 434608"/>
                <a:gd name="connsiteY211" fmla="*/ 270264 h 433342"/>
                <a:gd name="connsiteX212" fmla="*/ 48764 w 434608"/>
                <a:gd name="connsiteY212" fmla="*/ 275680 h 433342"/>
                <a:gd name="connsiteX213" fmla="*/ 71747 w 434608"/>
                <a:gd name="connsiteY213" fmla="*/ 298970 h 433342"/>
                <a:gd name="connsiteX214" fmla="*/ 77123 w 434608"/>
                <a:gd name="connsiteY214" fmla="*/ 303406 h 433342"/>
                <a:gd name="connsiteX215" fmla="*/ 96458 w 434608"/>
                <a:gd name="connsiteY215" fmla="*/ 293089 h 433342"/>
                <a:gd name="connsiteX216" fmla="*/ 102491 w 434608"/>
                <a:gd name="connsiteY216" fmla="*/ 291581 h 433342"/>
                <a:gd name="connsiteX217" fmla="*/ 108936 w 434608"/>
                <a:gd name="connsiteY217" fmla="*/ 293270 h 433342"/>
                <a:gd name="connsiteX218" fmla="*/ 115381 w 434608"/>
                <a:gd name="connsiteY218" fmla="*/ 296597 h 433342"/>
                <a:gd name="connsiteX219" fmla="*/ 122664 w 434608"/>
                <a:gd name="connsiteY219" fmla="*/ 306694 h 433342"/>
                <a:gd name="connsiteX220" fmla="*/ 125332 w 434608"/>
                <a:gd name="connsiteY220" fmla="*/ 328617 h 433342"/>
                <a:gd name="connsiteX221" fmla="*/ 132048 w 434608"/>
                <a:gd name="connsiteY221" fmla="*/ 330448 h 433342"/>
                <a:gd name="connsiteX222" fmla="*/ 164274 w 434608"/>
                <a:gd name="connsiteY222" fmla="*/ 335786 h 433342"/>
                <a:gd name="connsiteX223" fmla="*/ 166852 w 434608"/>
                <a:gd name="connsiteY223" fmla="*/ 335954 h 433342"/>
                <a:gd name="connsiteX224" fmla="*/ 167870 w 434608"/>
                <a:gd name="connsiteY224" fmla="*/ 340132 h 433342"/>
                <a:gd name="connsiteX225" fmla="*/ 169559 w 434608"/>
                <a:gd name="connsiteY225" fmla="*/ 346090 h 433342"/>
                <a:gd name="connsiteX226" fmla="*/ 170448 w 434608"/>
                <a:gd name="connsiteY226" fmla="*/ 349159 h 433342"/>
                <a:gd name="connsiteX227" fmla="*/ 170371 w 434608"/>
                <a:gd name="connsiteY227" fmla="*/ 349159 h 433342"/>
                <a:gd name="connsiteX228" fmla="*/ 163410 w 434608"/>
                <a:gd name="connsiteY228" fmla="*/ 348734 h 433342"/>
                <a:gd name="connsiteX229" fmla="*/ 128542 w 434608"/>
                <a:gd name="connsiteY229" fmla="*/ 342969 h 433342"/>
                <a:gd name="connsiteX230" fmla="*/ 121826 w 434608"/>
                <a:gd name="connsiteY230" fmla="*/ 341125 h 433342"/>
                <a:gd name="connsiteX231" fmla="*/ 113486 w 434608"/>
                <a:gd name="connsiteY231" fmla="*/ 338843 h 433342"/>
                <a:gd name="connsiteX232" fmla="*/ 112442 w 434608"/>
                <a:gd name="connsiteY232" fmla="*/ 330241 h 433342"/>
                <a:gd name="connsiteX233" fmla="*/ 109787 w 434608"/>
                <a:gd name="connsiteY233" fmla="*/ 308396 h 433342"/>
                <a:gd name="connsiteX234" fmla="*/ 109619 w 434608"/>
                <a:gd name="connsiteY234" fmla="*/ 308267 h 433342"/>
                <a:gd name="connsiteX235" fmla="*/ 102632 w 434608"/>
                <a:gd name="connsiteY235" fmla="*/ 304618 h 433342"/>
                <a:gd name="connsiteX236" fmla="*/ 102478 w 434608"/>
                <a:gd name="connsiteY236" fmla="*/ 304541 h 433342"/>
                <a:gd name="connsiteX237" fmla="*/ 83142 w 434608"/>
                <a:gd name="connsiteY237" fmla="*/ 314857 h 433342"/>
                <a:gd name="connsiteX238" fmla="*/ 75524 w 434608"/>
                <a:gd name="connsiteY238" fmla="*/ 318932 h 433342"/>
                <a:gd name="connsiteX239" fmla="*/ 68860 w 434608"/>
                <a:gd name="connsiteY239" fmla="*/ 313426 h 433342"/>
                <a:gd name="connsiteX240" fmla="*/ 63485 w 434608"/>
                <a:gd name="connsiteY240" fmla="*/ 308990 h 433342"/>
                <a:gd name="connsiteX241" fmla="*/ 38619 w 434608"/>
                <a:gd name="connsiteY241" fmla="*/ 283779 h 433342"/>
                <a:gd name="connsiteX242" fmla="*/ 34249 w 434608"/>
                <a:gd name="connsiteY242" fmla="*/ 278350 h 433342"/>
                <a:gd name="connsiteX243" fmla="*/ 28823 w 434608"/>
                <a:gd name="connsiteY243" fmla="*/ 271593 h 433342"/>
                <a:gd name="connsiteX244" fmla="*/ 33154 w 434608"/>
                <a:gd name="connsiteY244" fmla="*/ 264036 h 433342"/>
                <a:gd name="connsiteX245" fmla="*/ 43801 w 434608"/>
                <a:gd name="connsiteY245" fmla="*/ 244860 h 433342"/>
                <a:gd name="connsiteX246" fmla="*/ 43801 w 434608"/>
                <a:gd name="connsiteY246" fmla="*/ 244654 h 433342"/>
                <a:gd name="connsiteX247" fmla="*/ 40231 w 434608"/>
                <a:gd name="connsiteY247" fmla="*/ 237535 h 433342"/>
                <a:gd name="connsiteX248" fmla="*/ 40153 w 434608"/>
                <a:gd name="connsiteY248" fmla="*/ 237381 h 433342"/>
                <a:gd name="connsiteX249" fmla="*/ 18446 w 434608"/>
                <a:gd name="connsiteY249" fmla="*/ 234376 h 433342"/>
                <a:gd name="connsiteX250" fmla="*/ 9848 w 434608"/>
                <a:gd name="connsiteY250" fmla="*/ 233190 h 433342"/>
                <a:gd name="connsiteX251" fmla="*/ 7721 w 434608"/>
                <a:gd name="connsiteY251" fmla="*/ 224782 h 433342"/>
                <a:gd name="connsiteX252" fmla="*/ 5994 w 434608"/>
                <a:gd name="connsiteY252" fmla="*/ 218037 h 433342"/>
                <a:gd name="connsiteX253" fmla="*/ 2501 w 434608"/>
                <a:gd name="connsiteY253" fmla="*/ 200706 h 433342"/>
                <a:gd name="connsiteX254" fmla="*/ 761 w 434608"/>
                <a:gd name="connsiteY254" fmla="*/ 183116 h 433342"/>
                <a:gd name="connsiteX255" fmla="*/ 425 w 434608"/>
                <a:gd name="connsiteY255" fmla="*/ 176166 h 433342"/>
                <a:gd name="connsiteX256" fmla="*/ 0 w 434608"/>
                <a:gd name="connsiteY256" fmla="*/ 167500 h 433342"/>
                <a:gd name="connsiteX257" fmla="*/ 7863 w 434608"/>
                <a:gd name="connsiteY257" fmla="*/ 163838 h 433342"/>
                <a:gd name="connsiteX258" fmla="*/ 27701 w 434608"/>
                <a:gd name="connsiteY258" fmla="*/ 154617 h 433342"/>
                <a:gd name="connsiteX259" fmla="*/ 27701 w 434608"/>
                <a:gd name="connsiteY259" fmla="*/ 154424 h 433342"/>
                <a:gd name="connsiteX260" fmla="*/ 28990 w 434608"/>
                <a:gd name="connsiteY260" fmla="*/ 146570 h 433342"/>
                <a:gd name="connsiteX261" fmla="*/ 28990 w 434608"/>
                <a:gd name="connsiteY261" fmla="*/ 146390 h 433342"/>
                <a:gd name="connsiteX262" fmla="*/ 13148 w 434608"/>
                <a:gd name="connsiteY262" fmla="*/ 131160 h 433342"/>
                <a:gd name="connsiteX263" fmla="*/ 6909 w 434608"/>
                <a:gd name="connsiteY263" fmla="*/ 125151 h 433342"/>
                <a:gd name="connsiteX264" fmla="*/ 10067 w 434608"/>
                <a:gd name="connsiteY264" fmla="*/ 117066 h 433342"/>
                <a:gd name="connsiteX265" fmla="*/ 12645 w 434608"/>
                <a:gd name="connsiteY265" fmla="*/ 110618 h 433342"/>
                <a:gd name="connsiteX266" fmla="*/ 28990 w 434608"/>
                <a:gd name="connsiteY266" fmla="*/ 79295 h 433342"/>
                <a:gd name="connsiteX267" fmla="*/ 32857 w 434608"/>
                <a:gd name="connsiteY267" fmla="*/ 73479 h 433342"/>
                <a:gd name="connsiteX268" fmla="*/ 37614 w 434608"/>
                <a:gd name="connsiteY268" fmla="*/ 66257 h 433342"/>
                <a:gd name="connsiteX269" fmla="*/ 46096 w 434608"/>
                <a:gd name="connsiteY269" fmla="*/ 67908 h 433342"/>
                <a:gd name="connsiteX270" fmla="*/ 67610 w 434608"/>
                <a:gd name="connsiteY270" fmla="*/ 72125 h 433342"/>
                <a:gd name="connsiteX271" fmla="*/ 67777 w 434608"/>
                <a:gd name="connsiteY271" fmla="*/ 72009 h 433342"/>
                <a:gd name="connsiteX272" fmla="*/ 73397 w 434608"/>
                <a:gd name="connsiteY272" fmla="*/ 66464 h 433342"/>
                <a:gd name="connsiteX273" fmla="*/ 73513 w 434608"/>
                <a:gd name="connsiteY273" fmla="*/ 66335 h 433342"/>
                <a:gd name="connsiteX274" fmla="*/ 69646 w 434608"/>
                <a:gd name="connsiteY274" fmla="*/ 44631 h 433342"/>
                <a:gd name="connsiteX275" fmla="*/ 68125 w 434608"/>
                <a:gd name="connsiteY275" fmla="*/ 36107 h 433342"/>
                <a:gd name="connsiteX276" fmla="*/ 75434 w 434608"/>
                <a:gd name="connsiteY276" fmla="*/ 31465 h 433342"/>
                <a:gd name="connsiteX277" fmla="*/ 81312 w 434608"/>
                <a:gd name="connsiteY277" fmla="*/ 27738 h 433342"/>
                <a:gd name="connsiteX278" fmla="*/ 112958 w 434608"/>
                <a:gd name="connsiteY278" fmla="*/ 11993 h 433342"/>
                <a:gd name="connsiteX279" fmla="*/ 119480 w 434608"/>
                <a:gd name="connsiteY279" fmla="*/ 9530 h 433342"/>
                <a:gd name="connsiteX280" fmla="*/ 127562 w 434608"/>
                <a:gd name="connsiteY280" fmla="*/ 6499 h 433342"/>
                <a:gd name="connsiteX281" fmla="*/ 133440 w 434608"/>
                <a:gd name="connsiteY281" fmla="*/ 12818 h 433342"/>
                <a:gd name="connsiteX282" fmla="*/ 148406 w 434608"/>
                <a:gd name="connsiteY282" fmla="*/ 28654 h 433342"/>
                <a:gd name="connsiteX283" fmla="*/ 148612 w 434608"/>
                <a:gd name="connsiteY283" fmla="*/ 28654 h 433342"/>
                <a:gd name="connsiteX284" fmla="*/ 152544 w 434608"/>
                <a:gd name="connsiteY284" fmla="*/ 28009 h 433342"/>
                <a:gd name="connsiteX285" fmla="*/ 156475 w 434608"/>
                <a:gd name="connsiteY285" fmla="*/ 27480 h 433342"/>
                <a:gd name="connsiteX286" fmla="*/ 156643 w 434608"/>
                <a:gd name="connsiteY286" fmla="*/ 27480 h 433342"/>
                <a:gd name="connsiteX287" fmla="*/ 166207 w 434608"/>
                <a:gd name="connsiteY287" fmla="*/ 7737 h 433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</a:cxnLst>
              <a:rect l="l" t="t" r="r" b="b"/>
              <a:pathLst>
                <a:path w="434608" h="433342">
                  <a:moveTo>
                    <a:pt x="291279" y="214110"/>
                  </a:moveTo>
                  <a:cubicBezTo>
                    <a:pt x="241668" y="221895"/>
                    <a:pt x="207757" y="268440"/>
                    <a:pt x="215539" y="318073"/>
                  </a:cubicBezTo>
                  <a:cubicBezTo>
                    <a:pt x="223321" y="367705"/>
                    <a:pt x="269847" y="401628"/>
                    <a:pt x="319459" y="393843"/>
                  </a:cubicBezTo>
                  <a:cubicBezTo>
                    <a:pt x="368847" y="385710"/>
                    <a:pt x="402571" y="339431"/>
                    <a:pt x="395203" y="289905"/>
                  </a:cubicBezTo>
                  <a:cubicBezTo>
                    <a:pt x="395201" y="289897"/>
                    <a:pt x="395200" y="289888"/>
                    <a:pt x="395199" y="289880"/>
                  </a:cubicBezTo>
                  <a:cubicBezTo>
                    <a:pt x="387417" y="240249"/>
                    <a:pt x="340891" y="206325"/>
                    <a:pt x="291279" y="214110"/>
                  </a:cubicBezTo>
                  <a:close/>
                  <a:moveTo>
                    <a:pt x="307098" y="174606"/>
                  </a:moveTo>
                  <a:cubicBezTo>
                    <a:pt x="308980" y="174632"/>
                    <a:pt x="310862" y="174696"/>
                    <a:pt x="312731" y="174799"/>
                  </a:cubicBezTo>
                  <a:cubicBezTo>
                    <a:pt x="321486" y="175273"/>
                    <a:pt x="330169" y="176651"/>
                    <a:pt x="338640" y="178913"/>
                  </a:cubicBezTo>
                  <a:cubicBezTo>
                    <a:pt x="340458" y="179390"/>
                    <a:pt x="342262" y="179919"/>
                    <a:pt x="344054" y="180486"/>
                  </a:cubicBezTo>
                  <a:lnTo>
                    <a:pt x="345872" y="194607"/>
                  </a:lnTo>
                  <a:cubicBezTo>
                    <a:pt x="346396" y="198888"/>
                    <a:pt x="349049" y="202615"/>
                    <a:pt x="352923" y="204511"/>
                  </a:cubicBezTo>
                  <a:cubicBezTo>
                    <a:pt x="354641" y="205345"/>
                    <a:pt x="356360" y="206226"/>
                    <a:pt x="358079" y="207154"/>
                  </a:cubicBezTo>
                  <a:cubicBezTo>
                    <a:pt x="359928" y="208165"/>
                    <a:pt x="362004" y="208693"/>
                    <a:pt x="364111" y="208689"/>
                  </a:cubicBezTo>
                  <a:cubicBezTo>
                    <a:pt x="366272" y="208686"/>
                    <a:pt x="368399" y="208146"/>
                    <a:pt x="370299" y="207116"/>
                  </a:cubicBezTo>
                  <a:lnTo>
                    <a:pt x="382725" y="200371"/>
                  </a:lnTo>
                  <a:cubicBezTo>
                    <a:pt x="384233" y="201506"/>
                    <a:pt x="385728" y="202667"/>
                    <a:pt x="387172" y="203840"/>
                  </a:cubicBezTo>
                  <a:cubicBezTo>
                    <a:pt x="394004" y="209414"/>
                    <a:pt x="400253" y="215665"/>
                    <a:pt x="405824" y="222500"/>
                  </a:cubicBezTo>
                  <a:cubicBezTo>
                    <a:pt x="407001" y="223953"/>
                    <a:pt x="408154" y="225436"/>
                    <a:pt x="409279" y="226949"/>
                  </a:cubicBezTo>
                  <a:lnTo>
                    <a:pt x="402486" y="239380"/>
                  </a:lnTo>
                  <a:cubicBezTo>
                    <a:pt x="400391" y="243162"/>
                    <a:pt x="400351" y="247749"/>
                    <a:pt x="402383" y="251566"/>
                  </a:cubicBezTo>
                  <a:cubicBezTo>
                    <a:pt x="403242" y="253234"/>
                    <a:pt x="404101" y="254954"/>
                    <a:pt x="404961" y="256725"/>
                  </a:cubicBezTo>
                  <a:cubicBezTo>
                    <a:pt x="406840" y="260627"/>
                    <a:pt x="410565" y="263310"/>
                    <a:pt x="414860" y="263856"/>
                  </a:cubicBezTo>
                  <a:lnTo>
                    <a:pt x="428808" y="265597"/>
                  </a:lnTo>
                  <a:cubicBezTo>
                    <a:pt x="429362" y="267389"/>
                    <a:pt x="429878" y="269195"/>
                    <a:pt x="430342" y="271026"/>
                  </a:cubicBezTo>
                  <a:cubicBezTo>
                    <a:pt x="431455" y="275276"/>
                    <a:pt x="432350" y="279579"/>
                    <a:pt x="433023" y="283921"/>
                  </a:cubicBezTo>
                  <a:cubicBezTo>
                    <a:pt x="433702" y="288280"/>
                    <a:pt x="434166" y="292639"/>
                    <a:pt x="434415" y="296997"/>
                  </a:cubicBezTo>
                  <a:cubicBezTo>
                    <a:pt x="434518" y="298867"/>
                    <a:pt x="434608" y="300750"/>
                    <a:pt x="434608" y="302620"/>
                  </a:cubicBezTo>
                  <a:lnTo>
                    <a:pt x="421821" y="308681"/>
                  </a:lnTo>
                  <a:cubicBezTo>
                    <a:pt x="417901" y="310513"/>
                    <a:pt x="415175" y="314206"/>
                    <a:pt x="414577" y="318494"/>
                  </a:cubicBezTo>
                  <a:cubicBezTo>
                    <a:pt x="414319" y="320390"/>
                    <a:pt x="414023" y="322350"/>
                    <a:pt x="413662" y="324259"/>
                  </a:cubicBezTo>
                  <a:cubicBezTo>
                    <a:pt x="412899" y="328533"/>
                    <a:pt x="414354" y="332904"/>
                    <a:pt x="417529" y="335864"/>
                  </a:cubicBezTo>
                  <a:lnTo>
                    <a:pt x="427841" y="345626"/>
                  </a:lnTo>
                  <a:cubicBezTo>
                    <a:pt x="427184" y="347406"/>
                    <a:pt x="426591" y="349173"/>
                    <a:pt x="425895" y="350926"/>
                  </a:cubicBezTo>
                  <a:cubicBezTo>
                    <a:pt x="422700" y="359097"/>
                    <a:pt x="418684" y="366922"/>
                    <a:pt x="413907" y="374280"/>
                  </a:cubicBezTo>
                  <a:cubicBezTo>
                    <a:pt x="412884" y="375854"/>
                    <a:pt x="411822" y="377405"/>
                    <a:pt x="410723" y="378936"/>
                  </a:cubicBezTo>
                  <a:lnTo>
                    <a:pt x="396788" y="376395"/>
                  </a:lnTo>
                  <a:cubicBezTo>
                    <a:pt x="395989" y="376242"/>
                    <a:pt x="395178" y="376164"/>
                    <a:pt x="394365" y="376163"/>
                  </a:cubicBezTo>
                  <a:cubicBezTo>
                    <a:pt x="390883" y="376150"/>
                    <a:pt x="387548" y="377572"/>
                    <a:pt x="385148" y="380096"/>
                  </a:cubicBezTo>
                  <a:cubicBezTo>
                    <a:pt x="383817" y="381498"/>
                    <a:pt x="382454" y="382860"/>
                    <a:pt x="381062" y="384184"/>
                  </a:cubicBezTo>
                  <a:cubicBezTo>
                    <a:pt x="377947" y="387178"/>
                    <a:pt x="376560" y="391546"/>
                    <a:pt x="377375" y="395790"/>
                  </a:cubicBezTo>
                  <a:lnTo>
                    <a:pt x="379954" y="409795"/>
                  </a:lnTo>
                  <a:cubicBezTo>
                    <a:pt x="378416" y="410878"/>
                    <a:pt x="376860" y="411931"/>
                    <a:pt x="375287" y="412954"/>
                  </a:cubicBezTo>
                  <a:cubicBezTo>
                    <a:pt x="367910" y="417693"/>
                    <a:pt x="360066" y="421660"/>
                    <a:pt x="351879" y="424792"/>
                  </a:cubicBezTo>
                  <a:cubicBezTo>
                    <a:pt x="350125" y="425411"/>
                    <a:pt x="348359" y="426107"/>
                    <a:pt x="346568" y="426701"/>
                  </a:cubicBezTo>
                  <a:lnTo>
                    <a:pt x="336874" y="416384"/>
                  </a:lnTo>
                  <a:cubicBezTo>
                    <a:pt x="333827" y="413183"/>
                    <a:pt x="329376" y="411730"/>
                    <a:pt x="325028" y="412515"/>
                  </a:cubicBezTo>
                  <a:cubicBezTo>
                    <a:pt x="324190" y="412670"/>
                    <a:pt x="323275" y="412812"/>
                    <a:pt x="322450" y="412954"/>
                  </a:cubicBezTo>
                  <a:cubicBezTo>
                    <a:pt x="321625" y="413096"/>
                    <a:pt x="320748" y="413225"/>
                    <a:pt x="319872" y="413328"/>
                  </a:cubicBezTo>
                  <a:cubicBezTo>
                    <a:pt x="315489" y="413872"/>
                    <a:pt x="311683" y="416607"/>
                    <a:pt x="309766" y="420588"/>
                  </a:cubicBezTo>
                  <a:lnTo>
                    <a:pt x="303682" y="433342"/>
                  </a:lnTo>
                  <a:cubicBezTo>
                    <a:pt x="301800" y="433329"/>
                    <a:pt x="299918" y="433251"/>
                    <a:pt x="298049" y="433148"/>
                  </a:cubicBezTo>
                  <a:cubicBezTo>
                    <a:pt x="289295" y="432674"/>
                    <a:pt x="280612" y="431299"/>
                    <a:pt x="272139" y="429048"/>
                  </a:cubicBezTo>
                  <a:cubicBezTo>
                    <a:pt x="270326" y="428557"/>
                    <a:pt x="268521" y="428029"/>
                    <a:pt x="266725" y="427461"/>
                  </a:cubicBezTo>
                  <a:lnTo>
                    <a:pt x="264908" y="413341"/>
                  </a:lnTo>
                  <a:cubicBezTo>
                    <a:pt x="264383" y="409059"/>
                    <a:pt x="261730" y="405333"/>
                    <a:pt x="257857" y="403437"/>
                  </a:cubicBezTo>
                  <a:cubicBezTo>
                    <a:pt x="256139" y="402603"/>
                    <a:pt x="254419" y="401722"/>
                    <a:pt x="252701" y="400793"/>
                  </a:cubicBezTo>
                  <a:cubicBezTo>
                    <a:pt x="250851" y="399782"/>
                    <a:pt x="248776" y="399255"/>
                    <a:pt x="246668" y="399259"/>
                  </a:cubicBezTo>
                  <a:cubicBezTo>
                    <a:pt x="244508" y="399256"/>
                    <a:pt x="242381" y="399793"/>
                    <a:pt x="240481" y="400819"/>
                  </a:cubicBezTo>
                  <a:lnTo>
                    <a:pt x="228029" y="407589"/>
                  </a:lnTo>
                  <a:cubicBezTo>
                    <a:pt x="226508" y="406455"/>
                    <a:pt x="225025" y="405307"/>
                    <a:pt x="223569" y="404120"/>
                  </a:cubicBezTo>
                  <a:cubicBezTo>
                    <a:pt x="216772" y="398572"/>
                    <a:pt x="210553" y="392351"/>
                    <a:pt x="205007" y="385551"/>
                  </a:cubicBezTo>
                  <a:cubicBezTo>
                    <a:pt x="203830" y="384090"/>
                    <a:pt x="202677" y="382611"/>
                    <a:pt x="201552" y="381115"/>
                  </a:cubicBezTo>
                  <a:lnTo>
                    <a:pt x="208384" y="368593"/>
                  </a:lnTo>
                  <a:cubicBezTo>
                    <a:pt x="210480" y="364815"/>
                    <a:pt x="210519" y="360233"/>
                    <a:pt x="208487" y="356420"/>
                  </a:cubicBezTo>
                  <a:cubicBezTo>
                    <a:pt x="207623" y="354756"/>
                    <a:pt x="206734" y="353016"/>
                    <a:pt x="205909" y="351262"/>
                  </a:cubicBezTo>
                  <a:cubicBezTo>
                    <a:pt x="204032" y="347357"/>
                    <a:pt x="200306" y="344668"/>
                    <a:pt x="196009" y="344118"/>
                  </a:cubicBezTo>
                  <a:lnTo>
                    <a:pt x="181985" y="342274"/>
                  </a:lnTo>
                  <a:cubicBezTo>
                    <a:pt x="181434" y="340485"/>
                    <a:pt x="180919" y="338680"/>
                    <a:pt x="180438" y="336857"/>
                  </a:cubicBezTo>
                  <a:cubicBezTo>
                    <a:pt x="179342" y="332615"/>
                    <a:pt x="178440" y="328334"/>
                    <a:pt x="177757" y="323962"/>
                  </a:cubicBezTo>
                  <a:cubicBezTo>
                    <a:pt x="177073" y="319590"/>
                    <a:pt x="176622" y="315232"/>
                    <a:pt x="176377" y="310886"/>
                  </a:cubicBezTo>
                  <a:cubicBezTo>
                    <a:pt x="176274" y="309003"/>
                    <a:pt x="176184" y="307120"/>
                    <a:pt x="176184" y="305251"/>
                  </a:cubicBezTo>
                  <a:lnTo>
                    <a:pt x="188971" y="299190"/>
                  </a:lnTo>
                  <a:cubicBezTo>
                    <a:pt x="192895" y="297361"/>
                    <a:pt x="195623" y="293665"/>
                    <a:pt x="196215" y="289376"/>
                  </a:cubicBezTo>
                  <a:cubicBezTo>
                    <a:pt x="196473" y="287481"/>
                    <a:pt x="196770" y="285520"/>
                    <a:pt x="197131" y="283612"/>
                  </a:cubicBezTo>
                  <a:cubicBezTo>
                    <a:pt x="197891" y="279337"/>
                    <a:pt x="196436" y="274968"/>
                    <a:pt x="193264" y="272006"/>
                  </a:cubicBezTo>
                  <a:lnTo>
                    <a:pt x="182951" y="262244"/>
                  </a:lnTo>
                  <a:cubicBezTo>
                    <a:pt x="183609" y="260464"/>
                    <a:pt x="184202" y="258711"/>
                    <a:pt x="184898" y="256957"/>
                  </a:cubicBezTo>
                  <a:cubicBezTo>
                    <a:pt x="188089" y="248785"/>
                    <a:pt x="192106" y="240960"/>
                    <a:pt x="196886" y="233603"/>
                  </a:cubicBezTo>
                  <a:cubicBezTo>
                    <a:pt x="197904" y="232030"/>
                    <a:pt x="198974" y="230469"/>
                    <a:pt x="200070" y="228935"/>
                  </a:cubicBezTo>
                  <a:lnTo>
                    <a:pt x="213991" y="231514"/>
                  </a:lnTo>
                  <a:cubicBezTo>
                    <a:pt x="214790" y="231658"/>
                    <a:pt x="215602" y="231731"/>
                    <a:pt x="216415" y="231733"/>
                  </a:cubicBezTo>
                  <a:cubicBezTo>
                    <a:pt x="219886" y="231756"/>
                    <a:pt x="223215" y="230359"/>
                    <a:pt x="225631" y="227865"/>
                  </a:cubicBezTo>
                  <a:cubicBezTo>
                    <a:pt x="226963" y="226455"/>
                    <a:pt x="228325" y="225088"/>
                    <a:pt x="229717" y="223764"/>
                  </a:cubicBezTo>
                  <a:cubicBezTo>
                    <a:pt x="232828" y="220767"/>
                    <a:pt x="234215" y="216402"/>
                    <a:pt x="233404" y="212158"/>
                  </a:cubicBezTo>
                  <a:lnTo>
                    <a:pt x="230826" y="198166"/>
                  </a:lnTo>
                  <a:cubicBezTo>
                    <a:pt x="232364" y="197066"/>
                    <a:pt x="233920" y="196013"/>
                    <a:pt x="235492" y="195007"/>
                  </a:cubicBezTo>
                  <a:cubicBezTo>
                    <a:pt x="242868" y="190264"/>
                    <a:pt x="250713" y="186293"/>
                    <a:pt x="258901" y="183156"/>
                  </a:cubicBezTo>
                  <a:cubicBezTo>
                    <a:pt x="260654" y="182537"/>
                    <a:pt x="262420" y="181840"/>
                    <a:pt x="264212" y="181247"/>
                  </a:cubicBezTo>
                  <a:lnTo>
                    <a:pt x="273905" y="191564"/>
                  </a:lnTo>
                  <a:cubicBezTo>
                    <a:pt x="276937" y="194789"/>
                    <a:pt x="281402" y="196247"/>
                    <a:pt x="285751" y="195432"/>
                  </a:cubicBezTo>
                  <a:cubicBezTo>
                    <a:pt x="286589" y="195278"/>
                    <a:pt x="287504" y="195136"/>
                    <a:pt x="288329" y="194994"/>
                  </a:cubicBezTo>
                  <a:cubicBezTo>
                    <a:pt x="289154" y="194852"/>
                    <a:pt x="290031" y="194736"/>
                    <a:pt x="290907" y="194620"/>
                  </a:cubicBezTo>
                  <a:cubicBezTo>
                    <a:pt x="295288" y="194076"/>
                    <a:pt x="299092" y="191347"/>
                    <a:pt x="301013" y="187373"/>
                  </a:cubicBezTo>
                  <a:close/>
                  <a:moveTo>
                    <a:pt x="174624" y="65265"/>
                  </a:moveTo>
                  <a:cubicBezTo>
                    <a:pt x="177156" y="65270"/>
                    <a:pt x="179686" y="65363"/>
                    <a:pt x="182211" y="65542"/>
                  </a:cubicBezTo>
                  <a:cubicBezTo>
                    <a:pt x="242633" y="69852"/>
                    <a:pt x="288124" y="122347"/>
                    <a:pt x="283818" y="182795"/>
                  </a:cubicBezTo>
                  <a:lnTo>
                    <a:pt x="283392" y="182872"/>
                  </a:lnTo>
                  <a:lnTo>
                    <a:pt x="283238" y="182872"/>
                  </a:lnTo>
                  <a:lnTo>
                    <a:pt x="273570" y="172556"/>
                  </a:lnTo>
                  <a:lnTo>
                    <a:pt x="270992" y="169886"/>
                  </a:lnTo>
                  <a:cubicBezTo>
                    <a:pt x="270824" y="166792"/>
                    <a:pt x="270515" y="163671"/>
                    <a:pt x="270051" y="160563"/>
                  </a:cubicBezTo>
                  <a:cubicBezTo>
                    <a:pt x="262964" y="113269"/>
                    <a:pt x="222389" y="78257"/>
                    <a:pt x="174586" y="78186"/>
                  </a:cubicBezTo>
                  <a:cubicBezTo>
                    <a:pt x="169736" y="78186"/>
                    <a:pt x="164893" y="78549"/>
                    <a:pt x="160097" y="79270"/>
                  </a:cubicBezTo>
                  <a:cubicBezTo>
                    <a:pt x="112961" y="86339"/>
                    <a:pt x="78009" y="126720"/>
                    <a:pt x="77755" y="174401"/>
                  </a:cubicBezTo>
                  <a:cubicBezTo>
                    <a:pt x="77470" y="227816"/>
                    <a:pt x="120522" y="271347"/>
                    <a:pt x="173915" y="271632"/>
                  </a:cubicBezTo>
                  <a:lnTo>
                    <a:pt x="174018" y="271722"/>
                  </a:lnTo>
                  <a:lnTo>
                    <a:pt x="184331" y="281484"/>
                  </a:lnTo>
                  <a:cubicBezTo>
                    <a:pt x="184163" y="282297"/>
                    <a:pt x="184021" y="283174"/>
                    <a:pt x="183879" y="284063"/>
                  </a:cubicBezTo>
                  <a:cubicBezTo>
                    <a:pt x="180683" y="284334"/>
                    <a:pt x="177499" y="284489"/>
                    <a:pt x="174341" y="284489"/>
                  </a:cubicBezTo>
                  <a:cubicBezTo>
                    <a:pt x="113829" y="284410"/>
                    <a:pt x="64836" y="235272"/>
                    <a:pt x="64915" y="174735"/>
                  </a:cubicBezTo>
                  <a:cubicBezTo>
                    <a:pt x="64994" y="114198"/>
                    <a:pt x="114112" y="65186"/>
                    <a:pt x="174624" y="65265"/>
                  </a:cubicBezTo>
                  <a:close/>
                  <a:moveTo>
                    <a:pt x="174134" y="51080"/>
                  </a:moveTo>
                  <a:cubicBezTo>
                    <a:pt x="193468" y="51008"/>
                    <a:pt x="212543" y="55538"/>
                    <a:pt x="229781" y="64298"/>
                  </a:cubicBezTo>
                  <a:cubicBezTo>
                    <a:pt x="268561" y="84020"/>
                    <a:pt x="294064" y="122744"/>
                    <a:pt x="296875" y="166172"/>
                  </a:cubicBezTo>
                  <a:lnTo>
                    <a:pt x="295522" y="168984"/>
                  </a:lnTo>
                  <a:lnTo>
                    <a:pt x="290637" y="179300"/>
                  </a:lnTo>
                  <a:cubicBezTo>
                    <a:pt x="290709" y="177644"/>
                    <a:pt x="290746" y="175987"/>
                    <a:pt x="290747" y="174330"/>
                  </a:cubicBezTo>
                  <a:cubicBezTo>
                    <a:pt x="290816" y="109883"/>
                    <a:pt x="238649" y="57583"/>
                    <a:pt x="174228" y="57515"/>
                  </a:cubicBezTo>
                  <a:cubicBezTo>
                    <a:pt x="109807" y="57446"/>
                    <a:pt x="57527" y="109636"/>
                    <a:pt x="57459" y="174082"/>
                  </a:cubicBezTo>
                  <a:cubicBezTo>
                    <a:pt x="57391" y="238529"/>
                    <a:pt x="109559" y="290829"/>
                    <a:pt x="173979" y="290898"/>
                  </a:cubicBezTo>
                  <a:lnTo>
                    <a:pt x="176416" y="290898"/>
                  </a:lnTo>
                  <a:lnTo>
                    <a:pt x="170615" y="293645"/>
                  </a:lnTo>
                  <a:lnTo>
                    <a:pt x="163590" y="296972"/>
                  </a:lnTo>
                  <a:cubicBezTo>
                    <a:pt x="147869" y="295619"/>
                    <a:pt x="132555" y="291258"/>
                    <a:pt x="118480" y="284124"/>
                  </a:cubicBezTo>
                  <a:cubicBezTo>
                    <a:pt x="57799" y="253371"/>
                    <a:pt x="33530" y="179229"/>
                    <a:pt x="64270" y="118523"/>
                  </a:cubicBezTo>
                  <a:cubicBezTo>
                    <a:pt x="85256" y="77121"/>
                    <a:pt x="127733" y="51045"/>
                    <a:pt x="174134" y="51080"/>
                  </a:cubicBezTo>
                  <a:close/>
                  <a:moveTo>
                    <a:pt x="169984" y="0"/>
                  </a:moveTo>
                  <a:lnTo>
                    <a:pt x="178595" y="529"/>
                  </a:lnTo>
                  <a:lnTo>
                    <a:pt x="185556" y="954"/>
                  </a:lnTo>
                  <a:cubicBezTo>
                    <a:pt x="197345" y="1677"/>
                    <a:pt x="209029" y="3609"/>
                    <a:pt x="220424" y="6719"/>
                  </a:cubicBezTo>
                  <a:lnTo>
                    <a:pt x="227140" y="8563"/>
                  </a:lnTo>
                  <a:lnTo>
                    <a:pt x="235480" y="10845"/>
                  </a:lnTo>
                  <a:lnTo>
                    <a:pt x="236524" y="19434"/>
                  </a:lnTo>
                  <a:lnTo>
                    <a:pt x="239179" y="41356"/>
                  </a:lnTo>
                  <a:cubicBezTo>
                    <a:pt x="239223" y="41413"/>
                    <a:pt x="239281" y="41458"/>
                    <a:pt x="239347" y="41485"/>
                  </a:cubicBezTo>
                  <a:cubicBezTo>
                    <a:pt x="241693" y="42633"/>
                    <a:pt x="244052" y="43845"/>
                    <a:pt x="246333" y="45134"/>
                  </a:cubicBezTo>
                  <a:cubicBezTo>
                    <a:pt x="246488" y="45212"/>
                    <a:pt x="246488" y="45212"/>
                    <a:pt x="246488" y="45212"/>
                  </a:cubicBezTo>
                  <a:lnTo>
                    <a:pt x="265823" y="34895"/>
                  </a:lnTo>
                  <a:lnTo>
                    <a:pt x="273442" y="30820"/>
                  </a:lnTo>
                  <a:lnTo>
                    <a:pt x="280106" y="36327"/>
                  </a:lnTo>
                  <a:lnTo>
                    <a:pt x="285481" y="40763"/>
                  </a:lnTo>
                  <a:cubicBezTo>
                    <a:pt x="294600" y="48305"/>
                    <a:pt x="302931" y="56752"/>
                    <a:pt x="310346" y="65973"/>
                  </a:cubicBezTo>
                  <a:lnTo>
                    <a:pt x="314716" y="71402"/>
                  </a:lnTo>
                  <a:lnTo>
                    <a:pt x="320143" y="78160"/>
                  </a:lnTo>
                  <a:lnTo>
                    <a:pt x="315928" y="85729"/>
                  </a:lnTo>
                  <a:lnTo>
                    <a:pt x="305281" y="104905"/>
                  </a:lnTo>
                  <a:cubicBezTo>
                    <a:pt x="305261" y="104972"/>
                    <a:pt x="305261" y="105044"/>
                    <a:pt x="305281" y="105111"/>
                  </a:cubicBezTo>
                  <a:cubicBezTo>
                    <a:pt x="306531" y="107433"/>
                    <a:pt x="307730" y="109831"/>
                    <a:pt x="308851" y="112230"/>
                  </a:cubicBezTo>
                  <a:cubicBezTo>
                    <a:pt x="308928" y="112320"/>
                    <a:pt x="308928" y="112384"/>
                    <a:pt x="308928" y="112384"/>
                  </a:cubicBezTo>
                  <a:lnTo>
                    <a:pt x="330649" y="115389"/>
                  </a:lnTo>
                  <a:lnTo>
                    <a:pt x="339234" y="116575"/>
                  </a:lnTo>
                  <a:lnTo>
                    <a:pt x="341373" y="124983"/>
                  </a:lnTo>
                  <a:lnTo>
                    <a:pt x="343088" y="131728"/>
                  </a:lnTo>
                  <a:cubicBezTo>
                    <a:pt x="344531" y="137453"/>
                    <a:pt x="345717" y="143269"/>
                    <a:pt x="346581" y="149059"/>
                  </a:cubicBezTo>
                  <a:cubicBezTo>
                    <a:pt x="347445" y="154849"/>
                    <a:pt x="348038" y="160768"/>
                    <a:pt x="348321" y="166649"/>
                  </a:cubicBezTo>
                  <a:lnTo>
                    <a:pt x="348399" y="168364"/>
                  </a:lnTo>
                  <a:lnTo>
                    <a:pt x="347947" y="168222"/>
                  </a:lnTo>
                  <a:cubicBezTo>
                    <a:pt x="345846" y="167577"/>
                    <a:pt x="343913" y="166997"/>
                    <a:pt x="341979" y="166481"/>
                  </a:cubicBezTo>
                  <a:cubicBezTo>
                    <a:pt x="339775" y="165901"/>
                    <a:pt x="337545" y="165359"/>
                    <a:pt x="335302" y="164882"/>
                  </a:cubicBezTo>
                  <a:cubicBezTo>
                    <a:pt x="335006" y="160253"/>
                    <a:pt x="334529" y="155610"/>
                    <a:pt x="333832" y="150968"/>
                  </a:cubicBezTo>
                  <a:cubicBezTo>
                    <a:pt x="333008" y="145526"/>
                    <a:pt x="331925" y="140170"/>
                    <a:pt x="330584" y="134900"/>
                  </a:cubicBezTo>
                  <a:lnTo>
                    <a:pt x="328960" y="128091"/>
                  </a:lnTo>
                  <a:lnTo>
                    <a:pt x="307240" y="125087"/>
                  </a:lnTo>
                  <a:cubicBezTo>
                    <a:pt x="302860" y="124455"/>
                    <a:pt x="299098" y="121643"/>
                    <a:pt x="297250" y="117620"/>
                  </a:cubicBezTo>
                  <a:cubicBezTo>
                    <a:pt x="296235" y="115445"/>
                    <a:pt x="295153" y="113296"/>
                    <a:pt x="294002" y="111172"/>
                  </a:cubicBezTo>
                  <a:cubicBezTo>
                    <a:pt x="291881" y="107282"/>
                    <a:pt x="291881" y="102580"/>
                    <a:pt x="294002" y="98689"/>
                  </a:cubicBezTo>
                  <a:lnTo>
                    <a:pt x="304675" y="79449"/>
                  </a:lnTo>
                  <a:lnTo>
                    <a:pt x="300318" y="74059"/>
                  </a:lnTo>
                  <a:cubicBezTo>
                    <a:pt x="293468" y="65534"/>
                    <a:pt x="285767" y="57731"/>
                    <a:pt x="277334" y="50770"/>
                  </a:cubicBezTo>
                  <a:lnTo>
                    <a:pt x="271959" y="46334"/>
                  </a:lnTo>
                  <a:lnTo>
                    <a:pt x="252624" y="56650"/>
                  </a:lnTo>
                  <a:cubicBezTo>
                    <a:pt x="250766" y="57638"/>
                    <a:pt x="248695" y="58156"/>
                    <a:pt x="246591" y="58159"/>
                  </a:cubicBezTo>
                  <a:cubicBezTo>
                    <a:pt x="244334" y="58158"/>
                    <a:pt x="242114" y="57575"/>
                    <a:pt x="240146" y="56469"/>
                  </a:cubicBezTo>
                  <a:cubicBezTo>
                    <a:pt x="238015" y="55309"/>
                    <a:pt x="235866" y="54200"/>
                    <a:pt x="233701" y="53142"/>
                  </a:cubicBezTo>
                  <a:cubicBezTo>
                    <a:pt x="229719" y="51229"/>
                    <a:pt x="226979" y="47428"/>
                    <a:pt x="226418" y="43045"/>
                  </a:cubicBezTo>
                  <a:lnTo>
                    <a:pt x="223749" y="21123"/>
                  </a:lnTo>
                  <a:lnTo>
                    <a:pt x="217034" y="19292"/>
                  </a:lnTo>
                  <a:cubicBezTo>
                    <a:pt x="206504" y="16411"/>
                    <a:pt x="195704" y="14622"/>
                    <a:pt x="184808" y="13953"/>
                  </a:cubicBezTo>
                  <a:lnTo>
                    <a:pt x="177847" y="13527"/>
                  </a:lnTo>
                  <a:lnTo>
                    <a:pt x="168270" y="33283"/>
                  </a:lnTo>
                  <a:cubicBezTo>
                    <a:pt x="166313" y="37256"/>
                    <a:pt x="162472" y="39962"/>
                    <a:pt x="158074" y="40466"/>
                  </a:cubicBezTo>
                  <a:cubicBezTo>
                    <a:pt x="156875" y="40621"/>
                    <a:pt x="155676" y="40776"/>
                    <a:pt x="154477" y="40956"/>
                  </a:cubicBezTo>
                  <a:cubicBezTo>
                    <a:pt x="153278" y="41137"/>
                    <a:pt x="152080" y="41330"/>
                    <a:pt x="150894" y="41549"/>
                  </a:cubicBezTo>
                  <a:cubicBezTo>
                    <a:pt x="150115" y="41689"/>
                    <a:pt x="149326" y="41757"/>
                    <a:pt x="148535" y="41756"/>
                  </a:cubicBezTo>
                  <a:cubicBezTo>
                    <a:pt x="144938" y="41770"/>
                    <a:pt x="141498" y="40289"/>
                    <a:pt x="139035" y="37668"/>
                  </a:cubicBezTo>
                  <a:lnTo>
                    <a:pt x="124082" y="21600"/>
                  </a:lnTo>
                  <a:lnTo>
                    <a:pt x="117559" y="24050"/>
                  </a:lnTo>
                  <a:cubicBezTo>
                    <a:pt x="107331" y="27888"/>
                    <a:pt x="97525" y="32771"/>
                    <a:pt x="88298" y="38622"/>
                  </a:cubicBezTo>
                  <a:lnTo>
                    <a:pt x="82420" y="42349"/>
                  </a:lnTo>
                  <a:lnTo>
                    <a:pt x="86288" y="64078"/>
                  </a:lnTo>
                  <a:cubicBezTo>
                    <a:pt x="87042" y="68434"/>
                    <a:pt x="85537" y="72876"/>
                    <a:pt x="82292" y="75877"/>
                  </a:cubicBezTo>
                  <a:cubicBezTo>
                    <a:pt x="80522" y="77528"/>
                    <a:pt x="78802" y="79213"/>
                    <a:pt x="77135" y="80932"/>
                  </a:cubicBezTo>
                  <a:cubicBezTo>
                    <a:pt x="74108" y="84181"/>
                    <a:pt x="69623" y="85643"/>
                    <a:pt x="65263" y="84801"/>
                  </a:cubicBezTo>
                  <a:lnTo>
                    <a:pt x="43685" y="80584"/>
                  </a:lnTo>
                  <a:lnTo>
                    <a:pt x="39818" y="86400"/>
                  </a:lnTo>
                  <a:cubicBezTo>
                    <a:pt x="33802" y="95535"/>
                    <a:pt x="28728" y="105256"/>
                    <a:pt x="24672" y="115415"/>
                  </a:cubicBezTo>
                  <a:lnTo>
                    <a:pt x="22094" y="121863"/>
                  </a:lnTo>
                  <a:lnTo>
                    <a:pt x="37936" y="137105"/>
                  </a:lnTo>
                  <a:cubicBezTo>
                    <a:pt x="41112" y="140201"/>
                    <a:pt x="42501" y="144698"/>
                    <a:pt x="41623" y="149046"/>
                  </a:cubicBezTo>
                  <a:cubicBezTo>
                    <a:pt x="41159" y="151419"/>
                    <a:pt x="40759" y="153805"/>
                    <a:pt x="40424" y="156203"/>
                  </a:cubicBezTo>
                  <a:cubicBezTo>
                    <a:pt x="39840" y="160589"/>
                    <a:pt x="37074" y="164380"/>
                    <a:pt x="33076" y="166275"/>
                  </a:cubicBezTo>
                  <a:lnTo>
                    <a:pt x="13187" y="175534"/>
                  </a:lnTo>
                  <a:lnTo>
                    <a:pt x="13522" y="182485"/>
                  </a:lnTo>
                  <a:cubicBezTo>
                    <a:pt x="13771" y="187910"/>
                    <a:pt x="14308" y="193343"/>
                    <a:pt x="15133" y="198784"/>
                  </a:cubicBezTo>
                  <a:cubicBezTo>
                    <a:pt x="15958" y="204226"/>
                    <a:pt x="17041" y="209582"/>
                    <a:pt x="18382" y="214852"/>
                  </a:cubicBezTo>
                  <a:lnTo>
                    <a:pt x="20122" y="221622"/>
                  </a:lnTo>
                  <a:lnTo>
                    <a:pt x="41855" y="224627"/>
                  </a:lnTo>
                  <a:cubicBezTo>
                    <a:pt x="46231" y="225264"/>
                    <a:pt x="49986" y="228074"/>
                    <a:pt x="51832" y="232094"/>
                  </a:cubicBezTo>
                  <a:cubicBezTo>
                    <a:pt x="52846" y="234269"/>
                    <a:pt x="53929" y="236417"/>
                    <a:pt x="55080" y="238541"/>
                  </a:cubicBezTo>
                  <a:cubicBezTo>
                    <a:pt x="57201" y="242432"/>
                    <a:pt x="57201" y="247134"/>
                    <a:pt x="55080" y="251024"/>
                  </a:cubicBezTo>
                  <a:lnTo>
                    <a:pt x="44407" y="270264"/>
                  </a:lnTo>
                  <a:lnTo>
                    <a:pt x="48764" y="275680"/>
                  </a:lnTo>
                  <a:cubicBezTo>
                    <a:pt x="55614" y="284206"/>
                    <a:pt x="63314" y="292009"/>
                    <a:pt x="71747" y="298970"/>
                  </a:cubicBezTo>
                  <a:lnTo>
                    <a:pt x="77123" y="303406"/>
                  </a:lnTo>
                  <a:lnTo>
                    <a:pt x="96458" y="293089"/>
                  </a:lnTo>
                  <a:cubicBezTo>
                    <a:pt x="98315" y="292102"/>
                    <a:pt x="100387" y="291583"/>
                    <a:pt x="102491" y="291581"/>
                  </a:cubicBezTo>
                  <a:cubicBezTo>
                    <a:pt x="104748" y="291582"/>
                    <a:pt x="106967" y="292165"/>
                    <a:pt x="108936" y="293270"/>
                  </a:cubicBezTo>
                  <a:cubicBezTo>
                    <a:pt x="111067" y="294431"/>
                    <a:pt x="113215" y="295540"/>
                    <a:pt x="115381" y="296597"/>
                  </a:cubicBezTo>
                  <a:cubicBezTo>
                    <a:pt x="119363" y="298511"/>
                    <a:pt x="122103" y="302311"/>
                    <a:pt x="122664" y="306694"/>
                  </a:cubicBezTo>
                  <a:lnTo>
                    <a:pt x="125332" y="328617"/>
                  </a:lnTo>
                  <a:lnTo>
                    <a:pt x="132048" y="330448"/>
                  </a:lnTo>
                  <a:cubicBezTo>
                    <a:pt x="142578" y="333329"/>
                    <a:pt x="153378" y="335117"/>
                    <a:pt x="164274" y="335786"/>
                  </a:cubicBezTo>
                  <a:lnTo>
                    <a:pt x="166852" y="335954"/>
                  </a:lnTo>
                  <a:cubicBezTo>
                    <a:pt x="167174" y="337347"/>
                    <a:pt x="167509" y="338752"/>
                    <a:pt x="167870" y="340132"/>
                  </a:cubicBezTo>
                  <a:cubicBezTo>
                    <a:pt x="168386" y="342105"/>
                    <a:pt x="168953" y="344117"/>
                    <a:pt x="169559" y="346090"/>
                  </a:cubicBezTo>
                  <a:lnTo>
                    <a:pt x="170448" y="349159"/>
                  </a:lnTo>
                  <a:lnTo>
                    <a:pt x="170371" y="349159"/>
                  </a:lnTo>
                  <a:lnTo>
                    <a:pt x="163410" y="348734"/>
                  </a:lnTo>
                  <a:cubicBezTo>
                    <a:pt x="151621" y="348010"/>
                    <a:pt x="139937" y="346078"/>
                    <a:pt x="128542" y="342969"/>
                  </a:cubicBezTo>
                  <a:lnTo>
                    <a:pt x="121826" y="341125"/>
                  </a:lnTo>
                  <a:lnTo>
                    <a:pt x="113486" y="338843"/>
                  </a:lnTo>
                  <a:lnTo>
                    <a:pt x="112442" y="330241"/>
                  </a:lnTo>
                  <a:lnTo>
                    <a:pt x="109787" y="308396"/>
                  </a:lnTo>
                  <a:cubicBezTo>
                    <a:pt x="109787" y="308383"/>
                    <a:pt x="109748" y="308332"/>
                    <a:pt x="109619" y="308267"/>
                  </a:cubicBezTo>
                  <a:cubicBezTo>
                    <a:pt x="107273" y="307120"/>
                    <a:pt x="104914" y="305908"/>
                    <a:pt x="102632" y="304618"/>
                  </a:cubicBezTo>
                  <a:cubicBezTo>
                    <a:pt x="102478" y="304541"/>
                    <a:pt x="102478" y="304541"/>
                    <a:pt x="102478" y="304541"/>
                  </a:cubicBezTo>
                  <a:lnTo>
                    <a:pt x="83142" y="314857"/>
                  </a:lnTo>
                  <a:lnTo>
                    <a:pt x="75524" y="318932"/>
                  </a:lnTo>
                  <a:lnTo>
                    <a:pt x="68860" y="313426"/>
                  </a:lnTo>
                  <a:lnTo>
                    <a:pt x="63485" y="308990"/>
                  </a:lnTo>
                  <a:cubicBezTo>
                    <a:pt x="54363" y="301451"/>
                    <a:pt x="46032" y="293004"/>
                    <a:pt x="38619" y="283779"/>
                  </a:cubicBezTo>
                  <a:lnTo>
                    <a:pt x="34249" y="278350"/>
                  </a:lnTo>
                  <a:lnTo>
                    <a:pt x="28823" y="271593"/>
                  </a:lnTo>
                  <a:lnTo>
                    <a:pt x="33154" y="264036"/>
                  </a:lnTo>
                  <a:lnTo>
                    <a:pt x="43801" y="244860"/>
                  </a:lnTo>
                  <a:cubicBezTo>
                    <a:pt x="43821" y="244793"/>
                    <a:pt x="43821" y="244721"/>
                    <a:pt x="43801" y="244654"/>
                  </a:cubicBezTo>
                  <a:cubicBezTo>
                    <a:pt x="42551" y="242320"/>
                    <a:pt x="41352" y="239934"/>
                    <a:pt x="40231" y="237535"/>
                  </a:cubicBezTo>
                  <a:cubicBezTo>
                    <a:pt x="40153" y="237381"/>
                    <a:pt x="40153" y="237381"/>
                    <a:pt x="40153" y="237381"/>
                  </a:cubicBezTo>
                  <a:lnTo>
                    <a:pt x="18446" y="234376"/>
                  </a:lnTo>
                  <a:lnTo>
                    <a:pt x="9848" y="233190"/>
                  </a:lnTo>
                  <a:lnTo>
                    <a:pt x="7721" y="224782"/>
                  </a:lnTo>
                  <a:lnTo>
                    <a:pt x="5994" y="218037"/>
                  </a:lnTo>
                  <a:cubicBezTo>
                    <a:pt x="4550" y="212312"/>
                    <a:pt x="3364" y="206496"/>
                    <a:pt x="2501" y="200706"/>
                  </a:cubicBezTo>
                  <a:cubicBezTo>
                    <a:pt x="1637" y="194916"/>
                    <a:pt x="1044" y="188997"/>
                    <a:pt x="761" y="183116"/>
                  </a:cubicBezTo>
                  <a:lnTo>
                    <a:pt x="425" y="176166"/>
                  </a:lnTo>
                  <a:lnTo>
                    <a:pt x="0" y="167500"/>
                  </a:lnTo>
                  <a:lnTo>
                    <a:pt x="7863" y="163838"/>
                  </a:lnTo>
                  <a:lnTo>
                    <a:pt x="27701" y="154617"/>
                  </a:lnTo>
                  <a:cubicBezTo>
                    <a:pt x="27721" y="154554"/>
                    <a:pt x="27721" y="154487"/>
                    <a:pt x="27701" y="154424"/>
                  </a:cubicBezTo>
                  <a:cubicBezTo>
                    <a:pt x="28049" y="151806"/>
                    <a:pt x="28488" y="149150"/>
                    <a:pt x="28990" y="146570"/>
                  </a:cubicBezTo>
                  <a:cubicBezTo>
                    <a:pt x="28990" y="146467"/>
                    <a:pt x="28990" y="146390"/>
                    <a:pt x="28990" y="146390"/>
                  </a:cubicBezTo>
                  <a:lnTo>
                    <a:pt x="13148" y="131160"/>
                  </a:lnTo>
                  <a:lnTo>
                    <a:pt x="6909" y="125151"/>
                  </a:lnTo>
                  <a:lnTo>
                    <a:pt x="10067" y="117066"/>
                  </a:lnTo>
                  <a:lnTo>
                    <a:pt x="12645" y="110618"/>
                  </a:lnTo>
                  <a:cubicBezTo>
                    <a:pt x="17022" y="99651"/>
                    <a:pt x="22499" y="89157"/>
                    <a:pt x="28990" y="79295"/>
                  </a:cubicBezTo>
                  <a:lnTo>
                    <a:pt x="32857" y="73479"/>
                  </a:lnTo>
                  <a:lnTo>
                    <a:pt x="37614" y="66257"/>
                  </a:lnTo>
                  <a:lnTo>
                    <a:pt x="46096" y="67908"/>
                  </a:lnTo>
                  <a:lnTo>
                    <a:pt x="67610" y="72125"/>
                  </a:lnTo>
                  <a:cubicBezTo>
                    <a:pt x="67677" y="72105"/>
                    <a:pt x="67736" y="72064"/>
                    <a:pt x="67777" y="72009"/>
                  </a:cubicBezTo>
                  <a:cubicBezTo>
                    <a:pt x="69530" y="70113"/>
                    <a:pt x="71490" y="68256"/>
                    <a:pt x="73397" y="66464"/>
                  </a:cubicBezTo>
                  <a:cubicBezTo>
                    <a:pt x="73513" y="66335"/>
                    <a:pt x="73513" y="66335"/>
                    <a:pt x="73513" y="66335"/>
                  </a:cubicBezTo>
                  <a:lnTo>
                    <a:pt x="69646" y="44631"/>
                  </a:lnTo>
                  <a:lnTo>
                    <a:pt x="68125" y="36107"/>
                  </a:lnTo>
                  <a:lnTo>
                    <a:pt x="75434" y="31465"/>
                  </a:lnTo>
                  <a:lnTo>
                    <a:pt x="81312" y="27738"/>
                  </a:lnTo>
                  <a:cubicBezTo>
                    <a:pt x="91290" y="21414"/>
                    <a:pt x="101895" y="16138"/>
                    <a:pt x="112958" y="11993"/>
                  </a:cubicBezTo>
                  <a:lnTo>
                    <a:pt x="119480" y="9530"/>
                  </a:lnTo>
                  <a:lnTo>
                    <a:pt x="127562" y="6499"/>
                  </a:lnTo>
                  <a:lnTo>
                    <a:pt x="133440" y="12818"/>
                  </a:lnTo>
                  <a:lnTo>
                    <a:pt x="148406" y="28654"/>
                  </a:lnTo>
                  <a:lnTo>
                    <a:pt x="148612" y="28654"/>
                  </a:lnTo>
                  <a:cubicBezTo>
                    <a:pt x="149966" y="28422"/>
                    <a:pt x="151190" y="28203"/>
                    <a:pt x="152544" y="28009"/>
                  </a:cubicBezTo>
                  <a:cubicBezTo>
                    <a:pt x="153897" y="27816"/>
                    <a:pt x="155186" y="27635"/>
                    <a:pt x="156475" y="27480"/>
                  </a:cubicBezTo>
                  <a:lnTo>
                    <a:pt x="156643" y="27480"/>
                  </a:lnTo>
                  <a:lnTo>
                    <a:pt x="166207" y="7737"/>
                  </a:lnTo>
                  <a:close/>
                </a:path>
              </a:pathLst>
            </a:custGeom>
            <a:solidFill>
              <a:srgbClr val="025EA1"/>
            </a:solidFill>
            <a:ln w="12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20" name="TextBox 119">
            <a:extLst>
              <a:ext uri="{FF2B5EF4-FFF2-40B4-BE49-F238E27FC236}">
                <a16:creationId xmlns:a16="http://schemas.microsoft.com/office/drawing/2014/main" id="{24F03831-77EC-F8E1-1EB4-65FB2C35D3C4}"/>
              </a:ext>
            </a:extLst>
          </p:cNvPr>
          <p:cNvSpPr txBox="1"/>
          <p:nvPr/>
        </p:nvSpPr>
        <p:spPr>
          <a:xfrm>
            <a:off x="1389111" y="1059595"/>
            <a:ext cx="26111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48"/>
            <a:r>
              <a:rPr lang="ru-RU" sz="1600" b="1" dirty="0">
                <a:gradFill flip="none" rotWithShape="1">
                  <a:gsLst>
                    <a:gs pos="0">
                      <a:schemeClr val="accent3"/>
                    </a:gs>
                    <a:gs pos="97000">
                      <a:schemeClr val="accent1"/>
                    </a:gs>
                  </a:gsLst>
                  <a:lin ang="5400000" scaled="1"/>
                  <a:tileRect/>
                </a:gradFill>
                <a:latin typeface="Arial" panose="020B0604020202020204" pitchFamily="34" charset="0"/>
                <a:cs typeface="Arial" panose="020B0604020202020204" pitchFamily="34" charset="0"/>
              </a:rPr>
              <a:t>780 </a:t>
            </a:r>
            <a:r>
              <a:rPr lang="ru-RU" sz="1600" b="1" dirty="0" smtClean="0">
                <a:gradFill flip="none" rotWithShape="1">
                  <a:gsLst>
                    <a:gs pos="0">
                      <a:schemeClr val="accent3"/>
                    </a:gs>
                    <a:gs pos="97000">
                      <a:schemeClr val="accent1"/>
                    </a:gs>
                  </a:gsLst>
                  <a:lin ang="5400000" scaled="1"/>
                  <a:tileRect/>
                </a:gradFill>
                <a:latin typeface="Arial" panose="020B0604020202020204" pitchFamily="34" charset="0"/>
                <a:cs typeface="Arial" panose="020B0604020202020204" pitchFamily="34" charset="0"/>
              </a:rPr>
              <a:t>369,55 тыс. руб.  </a:t>
            </a:r>
            <a:endParaRPr lang="ru-RU" sz="1600" b="1" dirty="0">
              <a:gradFill flip="none" rotWithShape="1">
                <a:gsLst>
                  <a:gs pos="0">
                    <a:schemeClr val="accent3"/>
                  </a:gs>
                  <a:gs pos="97000">
                    <a:schemeClr val="accent1"/>
                  </a:gs>
                </a:gsLst>
                <a:lin ang="5400000" scaled="1"/>
                <a:tileRect/>
              </a:gra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7" name="Рисунок 82">
            <a:extLst>
              <a:ext uri="{FF2B5EF4-FFF2-40B4-BE49-F238E27FC236}">
                <a16:creationId xmlns:a16="http://schemas.microsoft.com/office/drawing/2014/main" id="{4E8E3138-27CD-3F8A-3912-14ED11BA3E83}"/>
              </a:ext>
            </a:extLst>
          </p:cNvPr>
          <p:cNvSpPr/>
          <p:nvPr/>
        </p:nvSpPr>
        <p:spPr>
          <a:xfrm rot="10800000">
            <a:off x="1730783" y="5012250"/>
            <a:ext cx="200636" cy="179558"/>
          </a:xfrm>
          <a:custGeom>
            <a:avLst/>
            <a:gdLst>
              <a:gd name="connsiteX0" fmla="*/ 180000 w 359999"/>
              <a:gd name="connsiteY0" fmla="*/ 0 h 360000"/>
              <a:gd name="connsiteX1" fmla="*/ 0 w 359999"/>
              <a:gd name="connsiteY1" fmla="*/ 180000 h 360000"/>
              <a:gd name="connsiteX2" fmla="*/ 180000 w 359999"/>
              <a:gd name="connsiteY2" fmla="*/ 360000 h 360000"/>
              <a:gd name="connsiteX3" fmla="*/ 360000 w 359999"/>
              <a:gd name="connsiteY3" fmla="*/ 180000 h 360000"/>
              <a:gd name="connsiteX4" fmla="*/ 180000 w 359999"/>
              <a:gd name="connsiteY4" fmla="*/ 0 h 360000"/>
              <a:gd name="connsiteX5" fmla="*/ 222381 w 359999"/>
              <a:gd name="connsiteY5" fmla="*/ 271612 h 360000"/>
              <a:gd name="connsiteX6" fmla="*/ 223513 w 359999"/>
              <a:gd name="connsiteY6" fmla="*/ 285814 h 360000"/>
              <a:gd name="connsiteX7" fmla="*/ 209310 w 359999"/>
              <a:gd name="connsiteY7" fmla="*/ 286947 h 360000"/>
              <a:gd name="connsiteX8" fmla="*/ 208209 w 359999"/>
              <a:gd name="connsiteY8" fmla="*/ 285851 h 360000"/>
              <a:gd name="connsiteX9" fmla="*/ 109478 w 359999"/>
              <a:gd name="connsiteY9" fmla="*/ 187119 h 360000"/>
              <a:gd name="connsiteX10" fmla="*/ 109468 w 359999"/>
              <a:gd name="connsiteY10" fmla="*/ 172891 h 360000"/>
              <a:gd name="connsiteX11" fmla="*/ 109478 w 359999"/>
              <a:gd name="connsiteY11" fmla="*/ 172881 h 360000"/>
              <a:gd name="connsiteX12" fmla="*/ 208209 w 359999"/>
              <a:gd name="connsiteY12" fmla="*/ 74149 h 360000"/>
              <a:gd name="connsiteX13" fmla="*/ 222448 w 359999"/>
              <a:gd name="connsiteY13" fmla="*/ 74652 h 360000"/>
              <a:gd name="connsiteX14" fmla="*/ 222448 w 359999"/>
              <a:gd name="connsiteY14" fmla="*/ 88388 h 360000"/>
              <a:gd name="connsiteX15" fmla="*/ 130769 w 359999"/>
              <a:gd name="connsiteY15" fmla="*/ 180000 h 3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59999" h="360000">
                <a:moveTo>
                  <a:pt x="180000" y="0"/>
                </a:moveTo>
                <a:cubicBezTo>
                  <a:pt x="80589" y="0"/>
                  <a:pt x="0" y="80589"/>
                  <a:pt x="0" y="180000"/>
                </a:cubicBezTo>
                <a:cubicBezTo>
                  <a:pt x="0" y="279411"/>
                  <a:pt x="80589" y="360000"/>
                  <a:pt x="180000" y="360000"/>
                </a:cubicBezTo>
                <a:cubicBezTo>
                  <a:pt x="279411" y="360000"/>
                  <a:pt x="360000" y="279411"/>
                  <a:pt x="360000" y="180000"/>
                </a:cubicBezTo>
                <a:cubicBezTo>
                  <a:pt x="360000" y="80589"/>
                  <a:pt x="279411" y="0"/>
                  <a:pt x="180000" y="0"/>
                </a:cubicBezTo>
                <a:close/>
                <a:moveTo>
                  <a:pt x="222381" y="271612"/>
                </a:moveTo>
                <a:cubicBezTo>
                  <a:pt x="226615" y="275221"/>
                  <a:pt x="227122" y="281580"/>
                  <a:pt x="223513" y="285814"/>
                </a:cubicBezTo>
                <a:cubicBezTo>
                  <a:pt x="219904" y="290049"/>
                  <a:pt x="213544" y="290556"/>
                  <a:pt x="209310" y="286947"/>
                </a:cubicBezTo>
                <a:cubicBezTo>
                  <a:pt x="208916" y="286610"/>
                  <a:pt x="208547" y="286244"/>
                  <a:pt x="208209" y="285851"/>
                </a:cubicBezTo>
                <a:lnTo>
                  <a:pt x="109478" y="187119"/>
                </a:lnTo>
                <a:cubicBezTo>
                  <a:pt x="105546" y="183193"/>
                  <a:pt x="105541" y="176823"/>
                  <a:pt x="109468" y="172891"/>
                </a:cubicBezTo>
                <a:cubicBezTo>
                  <a:pt x="109471" y="172887"/>
                  <a:pt x="109474" y="172885"/>
                  <a:pt x="109478" y="172881"/>
                </a:cubicBezTo>
                <a:lnTo>
                  <a:pt x="208209" y="74149"/>
                </a:lnTo>
                <a:cubicBezTo>
                  <a:pt x="212279" y="70356"/>
                  <a:pt x="218654" y="70581"/>
                  <a:pt x="222448" y="74652"/>
                </a:cubicBezTo>
                <a:cubicBezTo>
                  <a:pt x="226053" y="78521"/>
                  <a:pt x="226053" y="84519"/>
                  <a:pt x="222448" y="88388"/>
                </a:cubicBezTo>
                <a:lnTo>
                  <a:pt x="130769" y="180000"/>
                </a:lnTo>
                <a:close/>
              </a:path>
            </a:pathLst>
          </a:custGeom>
          <a:solidFill>
            <a:schemeClr val="accent2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29" name="Рисунок 82">
            <a:extLst>
              <a:ext uri="{FF2B5EF4-FFF2-40B4-BE49-F238E27FC236}">
                <a16:creationId xmlns:a16="http://schemas.microsoft.com/office/drawing/2014/main" id="{4E8E3138-27CD-3F8A-3912-14ED11BA3E83}"/>
              </a:ext>
            </a:extLst>
          </p:cNvPr>
          <p:cNvSpPr/>
          <p:nvPr/>
        </p:nvSpPr>
        <p:spPr>
          <a:xfrm rot="10800000">
            <a:off x="5395214" y="5003266"/>
            <a:ext cx="200636" cy="179558"/>
          </a:xfrm>
          <a:custGeom>
            <a:avLst/>
            <a:gdLst>
              <a:gd name="connsiteX0" fmla="*/ 180000 w 359999"/>
              <a:gd name="connsiteY0" fmla="*/ 0 h 360000"/>
              <a:gd name="connsiteX1" fmla="*/ 0 w 359999"/>
              <a:gd name="connsiteY1" fmla="*/ 180000 h 360000"/>
              <a:gd name="connsiteX2" fmla="*/ 180000 w 359999"/>
              <a:gd name="connsiteY2" fmla="*/ 360000 h 360000"/>
              <a:gd name="connsiteX3" fmla="*/ 360000 w 359999"/>
              <a:gd name="connsiteY3" fmla="*/ 180000 h 360000"/>
              <a:gd name="connsiteX4" fmla="*/ 180000 w 359999"/>
              <a:gd name="connsiteY4" fmla="*/ 0 h 360000"/>
              <a:gd name="connsiteX5" fmla="*/ 222381 w 359999"/>
              <a:gd name="connsiteY5" fmla="*/ 271612 h 360000"/>
              <a:gd name="connsiteX6" fmla="*/ 223513 w 359999"/>
              <a:gd name="connsiteY6" fmla="*/ 285814 h 360000"/>
              <a:gd name="connsiteX7" fmla="*/ 209310 w 359999"/>
              <a:gd name="connsiteY7" fmla="*/ 286947 h 360000"/>
              <a:gd name="connsiteX8" fmla="*/ 208209 w 359999"/>
              <a:gd name="connsiteY8" fmla="*/ 285851 h 360000"/>
              <a:gd name="connsiteX9" fmla="*/ 109478 w 359999"/>
              <a:gd name="connsiteY9" fmla="*/ 187119 h 360000"/>
              <a:gd name="connsiteX10" fmla="*/ 109468 w 359999"/>
              <a:gd name="connsiteY10" fmla="*/ 172891 h 360000"/>
              <a:gd name="connsiteX11" fmla="*/ 109478 w 359999"/>
              <a:gd name="connsiteY11" fmla="*/ 172881 h 360000"/>
              <a:gd name="connsiteX12" fmla="*/ 208209 w 359999"/>
              <a:gd name="connsiteY12" fmla="*/ 74149 h 360000"/>
              <a:gd name="connsiteX13" fmla="*/ 222448 w 359999"/>
              <a:gd name="connsiteY13" fmla="*/ 74652 h 360000"/>
              <a:gd name="connsiteX14" fmla="*/ 222448 w 359999"/>
              <a:gd name="connsiteY14" fmla="*/ 88388 h 360000"/>
              <a:gd name="connsiteX15" fmla="*/ 130769 w 359999"/>
              <a:gd name="connsiteY15" fmla="*/ 180000 h 3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59999" h="360000">
                <a:moveTo>
                  <a:pt x="180000" y="0"/>
                </a:moveTo>
                <a:cubicBezTo>
                  <a:pt x="80589" y="0"/>
                  <a:pt x="0" y="80589"/>
                  <a:pt x="0" y="180000"/>
                </a:cubicBezTo>
                <a:cubicBezTo>
                  <a:pt x="0" y="279411"/>
                  <a:pt x="80589" y="360000"/>
                  <a:pt x="180000" y="360000"/>
                </a:cubicBezTo>
                <a:cubicBezTo>
                  <a:pt x="279411" y="360000"/>
                  <a:pt x="360000" y="279411"/>
                  <a:pt x="360000" y="180000"/>
                </a:cubicBezTo>
                <a:cubicBezTo>
                  <a:pt x="360000" y="80589"/>
                  <a:pt x="279411" y="0"/>
                  <a:pt x="180000" y="0"/>
                </a:cubicBezTo>
                <a:close/>
                <a:moveTo>
                  <a:pt x="222381" y="271612"/>
                </a:moveTo>
                <a:cubicBezTo>
                  <a:pt x="226615" y="275221"/>
                  <a:pt x="227122" y="281580"/>
                  <a:pt x="223513" y="285814"/>
                </a:cubicBezTo>
                <a:cubicBezTo>
                  <a:pt x="219904" y="290049"/>
                  <a:pt x="213544" y="290556"/>
                  <a:pt x="209310" y="286947"/>
                </a:cubicBezTo>
                <a:cubicBezTo>
                  <a:pt x="208916" y="286610"/>
                  <a:pt x="208547" y="286244"/>
                  <a:pt x="208209" y="285851"/>
                </a:cubicBezTo>
                <a:lnTo>
                  <a:pt x="109478" y="187119"/>
                </a:lnTo>
                <a:cubicBezTo>
                  <a:pt x="105546" y="183193"/>
                  <a:pt x="105541" y="176823"/>
                  <a:pt x="109468" y="172891"/>
                </a:cubicBezTo>
                <a:cubicBezTo>
                  <a:pt x="109471" y="172887"/>
                  <a:pt x="109474" y="172885"/>
                  <a:pt x="109478" y="172881"/>
                </a:cubicBezTo>
                <a:lnTo>
                  <a:pt x="208209" y="74149"/>
                </a:lnTo>
                <a:cubicBezTo>
                  <a:pt x="212279" y="70356"/>
                  <a:pt x="218654" y="70581"/>
                  <a:pt x="222448" y="74652"/>
                </a:cubicBezTo>
                <a:cubicBezTo>
                  <a:pt x="226053" y="78521"/>
                  <a:pt x="226053" y="84519"/>
                  <a:pt x="222448" y="88388"/>
                </a:cubicBezTo>
                <a:lnTo>
                  <a:pt x="130769" y="180000"/>
                </a:lnTo>
                <a:close/>
              </a:path>
            </a:pathLst>
          </a:custGeom>
          <a:solidFill>
            <a:schemeClr val="accent2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30" name="Рисунок 82">
            <a:extLst>
              <a:ext uri="{FF2B5EF4-FFF2-40B4-BE49-F238E27FC236}">
                <a16:creationId xmlns:a16="http://schemas.microsoft.com/office/drawing/2014/main" id="{4E8E3138-27CD-3F8A-3912-14ED11BA3E83}"/>
              </a:ext>
            </a:extLst>
          </p:cNvPr>
          <p:cNvSpPr/>
          <p:nvPr/>
        </p:nvSpPr>
        <p:spPr>
          <a:xfrm rot="10800000">
            <a:off x="7095606" y="5024633"/>
            <a:ext cx="200636" cy="179558"/>
          </a:xfrm>
          <a:custGeom>
            <a:avLst/>
            <a:gdLst>
              <a:gd name="connsiteX0" fmla="*/ 180000 w 359999"/>
              <a:gd name="connsiteY0" fmla="*/ 0 h 360000"/>
              <a:gd name="connsiteX1" fmla="*/ 0 w 359999"/>
              <a:gd name="connsiteY1" fmla="*/ 180000 h 360000"/>
              <a:gd name="connsiteX2" fmla="*/ 180000 w 359999"/>
              <a:gd name="connsiteY2" fmla="*/ 360000 h 360000"/>
              <a:gd name="connsiteX3" fmla="*/ 360000 w 359999"/>
              <a:gd name="connsiteY3" fmla="*/ 180000 h 360000"/>
              <a:gd name="connsiteX4" fmla="*/ 180000 w 359999"/>
              <a:gd name="connsiteY4" fmla="*/ 0 h 360000"/>
              <a:gd name="connsiteX5" fmla="*/ 222381 w 359999"/>
              <a:gd name="connsiteY5" fmla="*/ 271612 h 360000"/>
              <a:gd name="connsiteX6" fmla="*/ 223513 w 359999"/>
              <a:gd name="connsiteY6" fmla="*/ 285814 h 360000"/>
              <a:gd name="connsiteX7" fmla="*/ 209310 w 359999"/>
              <a:gd name="connsiteY7" fmla="*/ 286947 h 360000"/>
              <a:gd name="connsiteX8" fmla="*/ 208209 w 359999"/>
              <a:gd name="connsiteY8" fmla="*/ 285851 h 360000"/>
              <a:gd name="connsiteX9" fmla="*/ 109478 w 359999"/>
              <a:gd name="connsiteY9" fmla="*/ 187119 h 360000"/>
              <a:gd name="connsiteX10" fmla="*/ 109468 w 359999"/>
              <a:gd name="connsiteY10" fmla="*/ 172891 h 360000"/>
              <a:gd name="connsiteX11" fmla="*/ 109478 w 359999"/>
              <a:gd name="connsiteY11" fmla="*/ 172881 h 360000"/>
              <a:gd name="connsiteX12" fmla="*/ 208209 w 359999"/>
              <a:gd name="connsiteY12" fmla="*/ 74149 h 360000"/>
              <a:gd name="connsiteX13" fmla="*/ 222448 w 359999"/>
              <a:gd name="connsiteY13" fmla="*/ 74652 h 360000"/>
              <a:gd name="connsiteX14" fmla="*/ 222448 w 359999"/>
              <a:gd name="connsiteY14" fmla="*/ 88388 h 360000"/>
              <a:gd name="connsiteX15" fmla="*/ 130769 w 359999"/>
              <a:gd name="connsiteY15" fmla="*/ 180000 h 3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59999" h="360000">
                <a:moveTo>
                  <a:pt x="180000" y="0"/>
                </a:moveTo>
                <a:cubicBezTo>
                  <a:pt x="80589" y="0"/>
                  <a:pt x="0" y="80589"/>
                  <a:pt x="0" y="180000"/>
                </a:cubicBezTo>
                <a:cubicBezTo>
                  <a:pt x="0" y="279411"/>
                  <a:pt x="80589" y="360000"/>
                  <a:pt x="180000" y="360000"/>
                </a:cubicBezTo>
                <a:cubicBezTo>
                  <a:pt x="279411" y="360000"/>
                  <a:pt x="360000" y="279411"/>
                  <a:pt x="360000" y="180000"/>
                </a:cubicBezTo>
                <a:cubicBezTo>
                  <a:pt x="360000" y="80589"/>
                  <a:pt x="279411" y="0"/>
                  <a:pt x="180000" y="0"/>
                </a:cubicBezTo>
                <a:close/>
                <a:moveTo>
                  <a:pt x="222381" y="271612"/>
                </a:moveTo>
                <a:cubicBezTo>
                  <a:pt x="226615" y="275221"/>
                  <a:pt x="227122" y="281580"/>
                  <a:pt x="223513" y="285814"/>
                </a:cubicBezTo>
                <a:cubicBezTo>
                  <a:pt x="219904" y="290049"/>
                  <a:pt x="213544" y="290556"/>
                  <a:pt x="209310" y="286947"/>
                </a:cubicBezTo>
                <a:cubicBezTo>
                  <a:pt x="208916" y="286610"/>
                  <a:pt x="208547" y="286244"/>
                  <a:pt x="208209" y="285851"/>
                </a:cubicBezTo>
                <a:lnTo>
                  <a:pt x="109478" y="187119"/>
                </a:lnTo>
                <a:cubicBezTo>
                  <a:pt x="105546" y="183193"/>
                  <a:pt x="105541" y="176823"/>
                  <a:pt x="109468" y="172891"/>
                </a:cubicBezTo>
                <a:cubicBezTo>
                  <a:pt x="109471" y="172887"/>
                  <a:pt x="109474" y="172885"/>
                  <a:pt x="109478" y="172881"/>
                </a:cubicBezTo>
                <a:lnTo>
                  <a:pt x="208209" y="74149"/>
                </a:lnTo>
                <a:cubicBezTo>
                  <a:pt x="212279" y="70356"/>
                  <a:pt x="218654" y="70581"/>
                  <a:pt x="222448" y="74652"/>
                </a:cubicBezTo>
                <a:cubicBezTo>
                  <a:pt x="226053" y="78521"/>
                  <a:pt x="226053" y="84519"/>
                  <a:pt x="222448" y="88388"/>
                </a:cubicBezTo>
                <a:lnTo>
                  <a:pt x="130769" y="180000"/>
                </a:lnTo>
                <a:close/>
              </a:path>
            </a:pathLst>
          </a:custGeom>
          <a:solidFill>
            <a:schemeClr val="accent2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31" name="Прямоугольник 130"/>
          <p:cNvSpPr/>
          <p:nvPr/>
        </p:nvSpPr>
        <p:spPr>
          <a:xfrm>
            <a:off x="6872565" y="6086287"/>
            <a:ext cx="1453475" cy="307777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defTabSz="914348"/>
            <a:r>
              <a:rPr lang="ru-RU" sz="1400" b="1" dirty="0">
                <a:gradFill flip="none" rotWithShape="1">
                  <a:gsLst>
                    <a:gs pos="0">
                      <a:schemeClr val="accent3"/>
                    </a:gs>
                    <a:gs pos="97000">
                      <a:schemeClr val="accent1"/>
                    </a:gs>
                  </a:gsLst>
                  <a:lin ang="5400000" scaled="1"/>
                  <a:tileRect/>
                </a:gradFill>
                <a:latin typeface="Arial" panose="020B0604020202020204" pitchFamily="34" charset="0"/>
                <a:cs typeface="Arial" panose="020B0604020202020204" pitchFamily="34" charset="0"/>
              </a:rPr>
              <a:t>451,4 млн руб.</a:t>
            </a:r>
          </a:p>
        </p:txBody>
      </p: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id="{41535228-DF9C-413A-85D9-7ECF9777A889}"/>
              </a:ext>
            </a:extLst>
          </p:cNvPr>
          <p:cNvSpPr/>
          <p:nvPr/>
        </p:nvSpPr>
        <p:spPr>
          <a:xfrm>
            <a:off x="830537" y="2011358"/>
            <a:ext cx="636306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ts val="554"/>
              </a:spcBef>
              <a:spcAft>
                <a:spcPct val="0"/>
              </a:spcAft>
            </a:pPr>
            <a:r>
              <a:rPr lang="ru-RU" sz="1400" b="1" dirty="0">
                <a:solidFill>
                  <a:schemeClr val="bg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Контрактный график выполнения работ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628E147C-E162-0814-E5E4-15BA9E795FDF}"/>
              </a:ext>
            </a:extLst>
          </p:cNvPr>
          <p:cNvSpPr txBox="1"/>
          <p:nvPr/>
        </p:nvSpPr>
        <p:spPr>
          <a:xfrm>
            <a:off x="830537" y="4388714"/>
            <a:ext cx="36473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48"/>
            <a:r>
              <a:rPr lang="ru-RU" sz="1600" b="1" dirty="0">
                <a:gradFill flip="none" rotWithShape="1">
                  <a:gsLst>
                    <a:gs pos="0">
                      <a:schemeClr val="accent3"/>
                    </a:gs>
                    <a:gs pos="97000">
                      <a:schemeClr val="accent1"/>
                    </a:gs>
                  </a:gsLst>
                  <a:lin ang="5400000" scaled="1"/>
                  <a:tileRect/>
                </a:gradFill>
                <a:latin typeface="Arial" panose="020B0604020202020204" pitchFamily="34" charset="0"/>
                <a:cs typeface="Arial" panose="020B0604020202020204" pitchFamily="34" charset="0"/>
              </a:rPr>
              <a:t>Динамика исполнения контракта  </a:t>
            </a:r>
          </a:p>
        </p:txBody>
      </p:sp>
      <p:cxnSp>
        <p:nvCxnSpPr>
          <p:cNvPr id="73" name="Прямая соединительная линия 72">
            <a:extLst>
              <a:ext uri="{FF2B5EF4-FFF2-40B4-BE49-F238E27FC236}">
                <a16:creationId xmlns:a16="http://schemas.microsoft.com/office/drawing/2014/main" id="{AF9D5F74-0CC6-2356-476D-326EC46952E3}"/>
              </a:ext>
            </a:extLst>
          </p:cNvPr>
          <p:cNvCxnSpPr>
            <a:cxnSpLocks/>
          </p:cNvCxnSpPr>
          <p:nvPr/>
        </p:nvCxnSpPr>
        <p:spPr>
          <a:xfrm flipH="1">
            <a:off x="757151" y="2006259"/>
            <a:ext cx="10519200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Рисунок 82">
            <a:extLst>
              <a:ext uri="{FF2B5EF4-FFF2-40B4-BE49-F238E27FC236}">
                <a16:creationId xmlns:a16="http://schemas.microsoft.com/office/drawing/2014/main" id="{4E8E3138-27CD-3F8A-3912-14ED11BA3E83}"/>
              </a:ext>
            </a:extLst>
          </p:cNvPr>
          <p:cNvSpPr/>
          <p:nvPr/>
        </p:nvSpPr>
        <p:spPr>
          <a:xfrm rot="10800000">
            <a:off x="8944704" y="5020907"/>
            <a:ext cx="200636" cy="179558"/>
          </a:xfrm>
          <a:custGeom>
            <a:avLst/>
            <a:gdLst>
              <a:gd name="connsiteX0" fmla="*/ 180000 w 359999"/>
              <a:gd name="connsiteY0" fmla="*/ 0 h 360000"/>
              <a:gd name="connsiteX1" fmla="*/ 0 w 359999"/>
              <a:gd name="connsiteY1" fmla="*/ 180000 h 360000"/>
              <a:gd name="connsiteX2" fmla="*/ 180000 w 359999"/>
              <a:gd name="connsiteY2" fmla="*/ 360000 h 360000"/>
              <a:gd name="connsiteX3" fmla="*/ 360000 w 359999"/>
              <a:gd name="connsiteY3" fmla="*/ 180000 h 360000"/>
              <a:gd name="connsiteX4" fmla="*/ 180000 w 359999"/>
              <a:gd name="connsiteY4" fmla="*/ 0 h 360000"/>
              <a:gd name="connsiteX5" fmla="*/ 222381 w 359999"/>
              <a:gd name="connsiteY5" fmla="*/ 271612 h 360000"/>
              <a:gd name="connsiteX6" fmla="*/ 223513 w 359999"/>
              <a:gd name="connsiteY6" fmla="*/ 285814 h 360000"/>
              <a:gd name="connsiteX7" fmla="*/ 209310 w 359999"/>
              <a:gd name="connsiteY7" fmla="*/ 286947 h 360000"/>
              <a:gd name="connsiteX8" fmla="*/ 208209 w 359999"/>
              <a:gd name="connsiteY8" fmla="*/ 285851 h 360000"/>
              <a:gd name="connsiteX9" fmla="*/ 109478 w 359999"/>
              <a:gd name="connsiteY9" fmla="*/ 187119 h 360000"/>
              <a:gd name="connsiteX10" fmla="*/ 109468 w 359999"/>
              <a:gd name="connsiteY10" fmla="*/ 172891 h 360000"/>
              <a:gd name="connsiteX11" fmla="*/ 109478 w 359999"/>
              <a:gd name="connsiteY11" fmla="*/ 172881 h 360000"/>
              <a:gd name="connsiteX12" fmla="*/ 208209 w 359999"/>
              <a:gd name="connsiteY12" fmla="*/ 74149 h 360000"/>
              <a:gd name="connsiteX13" fmla="*/ 222448 w 359999"/>
              <a:gd name="connsiteY13" fmla="*/ 74652 h 360000"/>
              <a:gd name="connsiteX14" fmla="*/ 222448 w 359999"/>
              <a:gd name="connsiteY14" fmla="*/ 88388 h 360000"/>
              <a:gd name="connsiteX15" fmla="*/ 130769 w 359999"/>
              <a:gd name="connsiteY15" fmla="*/ 180000 h 3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59999" h="360000">
                <a:moveTo>
                  <a:pt x="180000" y="0"/>
                </a:moveTo>
                <a:cubicBezTo>
                  <a:pt x="80589" y="0"/>
                  <a:pt x="0" y="80589"/>
                  <a:pt x="0" y="180000"/>
                </a:cubicBezTo>
                <a:cubicBezTo>
                  <a:pt x="0" y="279411"/>
                  <a:pt x="80589" y="360000"/>
                  <a:pt x="180000" y="360000"/>
                </a:cubicBezTo>
                <a:cubicBezTo>
                  <a:pt x="279411" y="360000"/>
                  <a:pt x="360000" y="279411"/>
                  <a:pt x="360000" y="180000"/>
                </a:cubicBezTo>
                <a:cubicBezTo>
                  <a:pt x="360000" y="80589"/>
                  <a:pt x="279411" y="0"/>
                  <a:pt x="180000" y="0"/>
                </a:cubicBezTo>
                <a:close/>
                <a:moveTo>
                  <a:pt x="222381" y="271612"/>
                </a:moveTo>
                <a:cubicBezTo>
                  <a:pt x="226615" y="275221"/>
                  <a:pt x="227122" y="281580"/>
                  <a:pt x="223513" y="285814"/>
                </a:cubicBezTo>
                <a:cubicBezTo>
                  <a:pt x="219904" y="290049"/>
                  <a:pt x="213544" y="290556"/>
                  <a:pt x="209310" y="286947"/>
                </a:cubicBezTo>
                <a:cubicBezTo>
                  <a:pt x="208916" y="286610"/>
                  <a:pt x="208547" y="286244"/>
                  <a:pt x="208209" y="285851"/>
                </a:cubicBezTo>
                <a:lnTo>
                  <a:pt x="109478" y="187119"/>
                </a:lnTo>
                <a:cubicBezTo>
                  <a:pt x="105546" y="183193"/>
                  <a:pt x="105541" y="176823"/>
                  <a:pt x="109468" y="172891"/>
                </a:cubicBezTo>
                <a:cubicBezTo>
                  <a:pt x="109471" y="172887"/>
                  <a:pt x="109474" y="172885"/>
                  <a:pt x="109478" y="172881"/>
                </a:cubicBezTo>
                <a:lnTo>
                  <a:pt x="208209" y="74149"/>
                </a:lnTo>
                <a:cubicBezTo>
                  <a:pt x="212279" y="70356"/>
                  <a:pt x="218654" y="70581"/>
                  <a:pt x="222448" y="74652"/>
                </a:cubicBezTo>
                <a:cubicBezTo>
                  <a:pt x="226053" y="78521"/>
                  <a:pt x="226053" y="84519"/>
                  <a:pt x="222448" y="88388"/>
                </a:cubicBezTo>
                <a:lnTo>
                  <a:pt x="130769" y="180000"/>
                </a:lnTo>
                <a:close/>
              </a:path>
            </a:pathLst>
          </a:custGeom>
          <a:solidFill>
            <a:schemeClr val="accent2"/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87" name="Группа 86">
            <a:extLst>
              <a:ext uri="{FF2B5EF4-FFF2-40B4-BE49-F238E27FC236}">
                <a16:creationId xmlns:a16="http://schemas.microsoft.com/office/drawing/2014/main" id="{EE791CF7-44E7-6F88-ED1C-41547D623387}"/>
              </a:ext>
            </a:extLst>
          </p:cNvPr>
          <p:cNvGrpSpPr/>
          <p:nvPr/>
        </p:nvGrpSpPr>
        <p:grpSpPr>
          <a:xfrm>
            <a:off x="8896315" y="4974353"/>
            <a:ext cx="288000" cy="288000"/>
            <a:chOff x="3148873" y="2062146"/>
            <a:chExt cx="432000" cy="432000"/>
          </a:xfrm>
        </p:grpSpPr>
        <p:sp>
          <p:nvSpPr>
            <p:cNvPr id="91" name="Овал 90">
              <a:extLst>
                <a:ext uri="{FF2B5EF4-FFF2-40B4-BE49-F238E27FC236}">
                  <a16:creationId xmlns:a16="http://schemas.microsoft.com/office/drawing/2014/main" id="{17EA75CF-9B8B-BC1C-C2A9-C2AB654CD00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48873" y="2062146"/>
              <a:ext cx="432000" cy="43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2" name="Рисунок 10">
              <a:extLst>
                <a:ext uri="{FF2B5EF4-FFF2-40B4-BE49-F238E27FC236}">
                  <a16:creationId xmlns:a16="http://schemas.microsoft.com/office/drawing/2014/main" id="{3DA6BAF0-0E1E-6586-44DD-6C57D228FCC3}"/>
                </a:ext>
              </a:extLst>
            </p:cNvPr>
            <p:cNvSpPr/>
            <p:nvPr/>
          </p:nvSpPr>
          <p:spPr>
            <a:xfrm>
              <a:off x="3184873" y="2098146"/>
              <a:ext cx="359999" cy="360000"/>
            </a:xfrm>
            <a:custGeom>
              <a:avLst/>
              <a:gdLst>
                <a:gd name="connsiteX0" fmla="*/ 180000 w 359999"/>
                <a:gd name="connsiteY0" fmla="*/ 0 h 360000"/>
                <a:gd name="connsiteX1" fmla="*/ 0 w 359999"/>
                <a:gd name="connsiteY1" fmla="*/ 180000 h 360000"/>
                <a:gd name="connsiteX2" fmla="*/ 180000 w 359999"/>
                <a:gd name="connsiteY2" fmla="*/ 360000 h 360000"/>
                <a:gd name="connsiteX3" fmla="*/ 360000 w 359999"/>
                <a:gd name="connsiteY3" fmla="*/ 180000 h 360000"/>
                <a:gd name="connsiteX4" fmla="*/ 180000 w 359999"/>
                <a:gd name="connsiteY4" fmla="*/ 0 h 360000"/>
                <a:gd name="connsiteX5" fmla="*/ 285676 w 359999"/>
                <a:gd name="connsiteY5" fmla="*/ 126094 h 360000"/>
                <a:gd name="connsiteX6" fmla="*/ 158924 w 359999"/>
                <a:gd name="connsiteY6" fmla="*/ 252846 h 360000"/>
                <a:gd name="connsiteX7" fmla="*/ 144715 w 359999"/>
                <a:gd name="connsiteY7" fmla="*/ 252876 h 360000"/>
                <a:gd name="connsiteX8" fmla="*/ 144685 w 359999"/>
                <a:gd name="connsiteY8" fmla="*/ 252846 h 360000"/>
                <a:gd name="connsiteX9" fmla="*/ 57990 w 359999"/>
                <a:gd name="connsiteY9" fmla="*/ 166151 h 360000"/>
                <a:gd name="connsiteX10" fmla="*/ 58244 w 359999"/>
                <a:gd name="connsiteY10" fmla="*/ 151905 h 360000"/>
                <a:gd name="connsiteX11" fmla="*/ 72242 w 359999"/>
                <a:gd name="connsiteY11" fmla="*/ 151912 h 360000"/>
                <a:gd name="connsiteX12" fmla="*/ 151791 w 359999"/>
                <a:gd name="connsiteY12" fmla="*/ 231475 h 360000"/>
                <a:gd name="connsiteX13" fmla="*/ 271424 w 359999"/>
                <a:gd name="connsiteY13" fmla="*/ 111922 h 360000"/>
                <a:gd name="connsiteX14" fmla="*/ 285663 w 359999"/>
                <a:gd name="connsiteY14" fmla="*/ 111420 h 360000"/>
                <a:gd name="connsiteX15" fmla="*/ 286165 w 359999"/>
                <a:gd name="connsiteY15" fmla="*/ 125659 h 360000"/>
                <a:gd name="connsiteX16" fmla="*/ 285663 w 359999"/>
                <a:gd name="connsiteY16" fmla="*/ 126161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59999" h="360000">
                  <a:moveTo>
                    <a:pt x="180000" y="0"/>
                  </a:moveTo>
                  <a:cubicBezTo>
                    <a:pt x="80589" y="0"/>
                    <a:pt x="0" y="80589"/>
                    <a:pt x="0" y="180000"/>
                  </a:cubicBezTo>
                  <a:cubicBezTo>
                    <a:pt x="0" y="279411"/>
                    <a:pt x="80589" y="360000"/>
                    <a:pt x="180000" y="360000"/>
                  </a:cubicBezTo>
                  <a:cubicBezTo>
                    <a:pt x="279411" y="360000"/>
                    <a:pt x="360000" y="279411"/>
                    <a:pt x="360000" y="180000"/>
                  </a:cubicBezTo>
                  <a:cubicBezTo>
                    <a:pt x="360000" y="80589"/>
                    <a:pt x="279411" y="0"/>
                    <a:pt x="180000" y="0"/>
                  </a:cubicBezTo>
                  <a:close/>
                  <a:moveTo>
                    <a:pt x="285676" y="126094"/>
                  </a:moveTo>
                  <a:lnTo>
                    <a:pt x="158924" y="252846"/>
                  </a:lnTo>
                  <a:cubicBezTo>
                    <a:pt x="155008" y="256778"/>
                    <a:pt x="148646" y="256792"/>
                    <a:pt x="144715" y="252876"/>
                  </a:cubicBezTo>
                  <a:cubicBezTo>
                    <a:pt x="144704" y="252865"/>
                    <a:pt x="144694" y="252856"/>
                    <a:pt x="144685" y="252846"/>
                  </a:cubicBezTo>
                  <a:lnTo>
                    <a:pt x="57990" y="166151"/>
                  </a:lnTo>
                  <a:cubicBezTo>
                    <a:pt x="54126" y="162146"/>
                    <a:pt x="54240" y="155769"/>
                    <a:pt x="58244" y="151905"/>
                  </a:cubicBezTo>
                  <a:cubicBezTo>
                    <a:pt x="62150" y="148136"/>
                    <a:pt x="68339" y="148139"/>
                    <a:pt x="72242" y="151912"/>
                  </a:cubicBezTo>
                  <a:lnTo>
                    <a:pt x="151791" y="231475"/>
                  </a:lnTo>
                  <a:lnTo>
                    <a:pt x="271424" y="111922"/>
                  </a:lnTo>
                  <a:cubicBezTo>
                    <a:pt x="275217" y="107852"/>
                    <a:pt x="281593" y="107627"/>
                    <a:pt x="285663" y="111420"/>
                  </a:cubicBezTo>
                  <a:cubicBezTo>
                    <a:pt x="289733" y="115213"/>
                    <a:pt x="289959" y="121588"/>
                    <a:pt x="286165" y="125659"/>
                  </a:cubicBezTo>
                  <a:cubicBezTo>
                    <a:pt x="286004" y="125832"/>
                    <a:pt x="285836" y="126000"/>
                    <a:pt x="285663" y="126161"/>
                  </a:cubicBezTo>
                  <a:close/>
                </a:path>
              </a:pathLst>
            </a:custGeom>
            <a:solidFill>
              <a:schemeClr val="tx2"/>
            </a:solidFill>
            <a:ln w="13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75" name="Овал 74">
            <a:extLst>
              <a:ext uri="{FF2B5EF4-FFF2-40B4-BE49-F238E27FC236}">
                <a16:creationId xmlns:a16="http://schemas.microsoft.com/office/drawing/2014/main" id="{F946D82F-50E3-D3D9-3B27-13D99F196A91}"/>
              </a:ext>
            </a:extLst>
          </p:cNvPr>
          <p:cNvSpPr/>
          <p:nvPr/>
        </p:nvSpPr>
        <p:spPr>
          <a:xfrm>
            <a:off x="1743901" y="2943512"/>
            <a:ext cx="218156" cy="211678"/>
          </a:xfrm>
          <a:prstGeom prst="ellipse">
            <a:avLst/>
          </a:prstGeom>
          <a:solidFill>
            <a:schemeClr val="bg1">
              <a:lumMod val="50000"/>
            </a:schemeClr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333333"/>
              </a:solidFill>
            </a:endParaRPr>
          </a:p>
        </p:txBody>
      </p:sp>
      <p:sp>
        <p:nvSpPr>
          <p:cNvPr id="78" name="Овал 77">
            <a:extLst>
              <a:ext uri="{FF2B5EF4-FFF2-40B4-BE49-F238E27FC236}">
                <a16:creationId xmlns:a16="http://schemas.microsoft.com/office/drawing/2014/main" id="{F946D82F-50E3-D3D9-3B27-13D99F196A91}"/>
              </a:ext>
            </a:extLst>
          </p:cNvPr>
          <p:cNvSpPr/>
          <p:nvPr/>
        </p:nvSpPr>
        <p:spPr>
          <a:xfrm>
            <a:off x="3513378" y="2935125"/>
            <a:ext cx="218156" cy="211678"/>
          </a:xfrm>
          <a:prstGeom prst="ellipse">
            <a:avLst/>
          </a:prstGeom>
          <a:solidFill>
            <a:schemeClr val="bg1">
              <a:lumMod val="50000"/>
            </a:schemeClr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333333"/>
              </a:solidFill>
            </a:endParaRPr>
          </a:p>
        </p:txBody>
      </p:sp>
      <p:sp>
        <p:nvSpPr>
          <p:cNvPr id="80" name="Овал 79">
            <a:extLst>
              <a:ext uri="{FF2B5EF4-FFF2-40B4-BE49-F238E27FC236}">
                <a16:creationId xmlns:a16="http://schemas.microsoft.com/office/drawing/2014/main" id="{F946D82F-50E3-D3D9-3B27-13D99F196A91}"/>
              </a:ext>
            </a:extLst>
          </p:cNvPr>
          <p:cNvSpPr/>
          <p:nvPr/>
        </p:nvSpPr>
        <p:spPr>
          <a:xfrm>
            <a:off x="5348098" y="2964328"/>
            <a:ext cx="218156" cy="211678"/>
          </a:xfrm>
          <a:prstGeom prst="ellipse">
            <a:avLst/>
          </a:prstGeom>
          <a:solidFill>
            <a:schemeClr val="bg1">
              <a:lumMod val="50000"/>
            </a:schemeClr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333333"/>
              </a:solidFill>
            </a:endParaRPr>
          </a:p>
        </p:txBody>
      </p:sp>
      <p:sp>
        <p:nvSpPr>
          <p:cNvPr id="89" name="Овал 88">
            <a:extLst>
              <a:ext uri="{FF2B5EF4-FFF2-40B4-BE49-F238E27FC236}">
                <a16:creationId xmlns:a16="http://schemas.microsoft.com/office/drawing/2014/main" id="{F946D82F-50E3-D3D9-3B27-13D99F196A91}"/>
              </a:ext>
            </a:extLst>
          </p:cNvPr>
          <p:cNvSpPr/>
          <p:nvPr/>
        </p:nvSpPr>
        <p:spPr>
          <a:xfrm>
            <a:off x="7000959" y="2956938"/>
            <a:ext cx="218156" cy="211678"/>
          </a:xfrm>
          <a:prstGeom prst="ellipse">
            <a:avLst/>
          </a:prstGeom>
          <a:solidFill>
            <a:schemeClr val="bg1">
              <a:lumMod val="50000"/>
            </a:schemeClr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333333"/>
              </a:solidFill>
            </a:endParaRPr>
          </a:p>
        </p:txBody>
      </p:sp>
      <p:sp>
        <p:nvSpPr>
          <p:cNvPr id="93" name="Овал 92">
            <a:extLst>
              <a:ext uri="{FF2B5EF4-FFF2-40B4-BE49-F238E27FC236}">
                <a16:creationId xmlns:a16="http://schemas.microsoft.com/office/drawing/2014/main" id="{F946D82F-50E3-D3D9-3B27-13D99F196A91}"/>
              </a:ext>
            </a:extLst>
          </p:cNvPr>
          <p:cNvSpPr/>
          <p:nvPr/>
        </p:nvSpPr>
        <p:spPr>
          <a:xfrm>
            <a:off x="8813495" y="2949791"/>
            <a:ext cx="218156" cy="211678"/>
          </a:xfrm>
          <a:prstGeom prst="ellipse">
            <a:avLst/>
          </a:prstGeom>
          <a:solidFill>
            <a:schemeClr val="bg1">
              <a:lumMod val="50000"/>
            </a:schemeClr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333333"/>
              </a:solidFill>
            </a:endParaRPr>
          </a:p>
        </p:txBody>
      </p:sp>
      <p:sp>
        <p:nvSpPr>
          <p:cNvPr id="94" name="Овал 93">
            <a:extLst>
              <a:ext uri="{FF2B5EF4-FFF2-40B4-BE49-F238E27FC236}">
                <a16:creationId xmlns:a16="http://schemas.microsoft.com/office/drawing/2014/main" id="{F946D82F-50E3-D3D9-3B27-13D99F196A91}"/>
              </a:ext>
            </a:extLst>
          </p:cNvPr>
          <p:cNvSpPr/>
          <p:nvPr/>
        </p:nvSpPr>
        <p:spPr>
          <a:xfrm>
            <a:off x="10623013" y="2943512"/>
            <a:ext cx="218156" cy="211678"/>
          </a:xfrm>
          <a:prstGeom prst="ellipse">
            <a:avLst/>
          </a:prstGeom>
          <a:solidFill>
            <a:schemeClr val="bg1">
              <a:lumMod val="50000"/>
            </a:schemeClr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333333"/>
              </a:solidFill>
            </a:endParaRPr>
          </a:p>
        </p:txBody>
      </p:sp>
      <p:cxnSp>
        <p:nvCxnSpPr>
          <p:cNvPr id="96" name="Прямая соединительная линия 95">
            <a:extLst>
              <a:ext uri="{FF2B5EF4-FFF2-40B4-BE49-F238E27FC236}">
                <a16:creationId xmlns:a16="http://schemas.microsoft.com/office/drawing/2014/main" id="{2E216301-444D-C9F3-A2A4-35B9148EC89C}"/>
              </a:ext>
            </a:extLst>
          </p:cNvPr>
          <p:cNvCxnSpPr>
            <a:cxnSpLocks/>
          </p:cNvCxnSpPr>
          <p:nvPr/>
        </p:nvCxnSpPr>
        <p:spPr>
          <a:xfrm>
            <a:off x="4653527" y="2743294"/>
            <a:ext cx="0" cy="1309373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Прямая соединительная линия 98">
            <a:extLst>
              <a:ext uri="{FF2B5EF4-FFF2-40B4-BE49-F238E27FC236}">
                <a16:creationId xmlns:a16="http://schemas.microsoft.com/office/drawing/2014/main" id="{2E216301-444D-C9F3-A2A4-35B9148EC89C}"/>
              </a:ext>
            </a:extLst>
          </p:cNvPr>
          <p:cNvCxnSpPr>
            <a:cxnSpLocks/>
          </p:cNvCxnSpPr>
          <p:nvPr/>
        </p:nvCxnSpPr>
        <p:spPr>
          <a:xfrm>
            <a:off x="4653527" y="4352135"/>
            <a:ext cx="0" cy="1760865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0" name="Группа 99">
            <a:extLst>
              <a:ext uri="{FF2B5EF4-FFF2-40B4-BE49-F238E27FC236}">
                <a16:creationId xmlns:a16="http://schemas.microsoft.com/office/drawing/2014/main" id="{EE791CF7-44E7-6F88-ED1C-41547D623387}"/>
              </a:ext>
            </a:extLst>
          </p:cNvPr>
          <p:cNvGrpSpPr/>
          <p:nvPr/>
        </p:nvGrpSpPr>
        <p:grpSpPr>
          <a:xfrm>
            <a:off x="3469132" y="4958117"/>
            <a:ext cx="288000" cy="288000"/>
            <a:chOff x="3148873" y="2062146"/>
            <a:chExt cx="432000" cy="432000"/>
          </a:xfrm>
        </p:grpSpPr>
        <p:sp>
          <p:nvSpPr>
            <p:cNvPr id="107" name="Овал 106">
              <a:extLst>
                <a:ext uri="{FF2B5EF4-FFF2-40B4-BE49-F238E27FC236}">
                  <a16:creationId xmlns:a16="http://schemas.microsoft.com/office/drawing/2014/main" id="{17EA75CF-9B8B-BC1C-C2A9-C2AB654CD00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48873" y="2062146"/>
              <a:ext cx="432000" cy="43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1" name="Рисунок 10">
              <a:extLst>
                <a:ext uri="{FF2B5EF4-FFF2-40B4-BE49-F238E27FC236}">
                  <a16:creationId xmlns:a16="http://schemas.microsoft.com/office/drawing/2014/main" id="{3DA6BAF0-0E1E-6586-44DD-6C57D228FCC3}"/>
                </a:ext>
              </a:extLst>
            </p:cNvPr>
            <p:cNvSpPr/>
            <p:nvPr/>
          </p:nvSpPr>
          <p:spPr>
            <a:xfrm>
              <a:off x="3184873" y="2098146"/>
              <a:ext cx="359999" cy="360000"/>
            </a:xfrm>
            <a:custGeom>
              <a:avLst/>
              <a:gdLst>
                <a:gd name="connsiteX0" fmla="*/ 180000 w 359999"/>
                <a:gd name="connsiteY0" fmla="*/ 0 h 360000"/>
                <a:gd name="connsiteX1" fmla="*/ 0 w 359999"/>
                <a:gd name="connsiteY1" fmla="*/ 180000 h 360000"/>
                <a:gd name="connsiteX2" fmla="*/ 180000 w 359999"/>
                <a:gd name="connsiteY2" fmla="*/ 360000 h 360000"/>
                <a:gd name="connsiteX3" fmla="*/ 360000 w 359999"/>
                <a:gd name="connsiteY3" fmla="*/ 180000 h 360000"/>
                <a:gd name="connsiteX4" fmla="*/ 180000 w 359999"/>
                <a:gd name="connsiteY4" fmla="*/ 0 h 360000"/>
                <a:gd name="connsiteX5" fmla="*/ 285676 w 359999"/>
                <a:gd name="connsiteY5" fmla="*/ 126094 h 360000"/>
                <a:gd name="connsiteX6" fmla="*/ 158924 w 359999"/>
                <a:gd name="connsiteY6" fmla="*/ 252846 h 360000"/>
                <a:gd name="connsiteX7" fmla="*/ 144715 w 359999"/>
                <a:gd name="connsiteY7" fmla="*/ 252876 h 360000"/>
                <a:gd name="connsiteX8" fmla="*/ 144685 w 359999"/>
                <a:gd name="connsiteY8" fmla="*/ 252846 h 360000"/>
                <a:gd name="connsiteX9" fmla="*/ 57990 w 359999"/>
                <a:gd name="connsiteY9" fmla="*/ 166151 h 360000"/>
                <a:gd name="connsiteX10" fmla="*/ 58244 w 359999"/>
                <a:gd name="connsiteY10" fmla="*/ 151905 h 360000"/>
                <a:gd name="connsiteX11" fmla="*/ 72242 w 359999"/>
                <a:gd name="connsiteY11" fmla="*/ 151912 h 360000"/>
                <a:gd name="connsiteX12" fmla="*/ 151791 w 359999"/>
                <a:gd name="connsiteY12" fmla="*/ 231475 h 360000"/>
                <a:gd name="connsiteX13" fmla="*/ 271424 w 359999"/>
                <a:gd name="connsiteY13" fmla="*/ 111922 h 360000"/>
                <a:gd name="connsiteX14" fmla="*/ 285663 w 359999"/>
                <a:gd name="connsiteY14" fmla="*/ 111420 h 360000"/>
                <a:gd name="connsiteX15" fmla="*/ 286165 w 359999"/>
                <a:gd name="connsiteY15" fmla="*/ 125659 h 360000"/>
                <a:gd name="connsiteX16" fmla="*/ 285663 w 359999"/>
                <a:gd name="connsiteY16" fmla="*/ 126161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59999" h="360000">
                  <a:moveTo>
                    <a:pt x="180000" y="0"/>
                  </a:moveTo>
                  <a:cubicBezTo>
                    <a:pt x="80589" y="0"/>
                    <a:pt x="0" y="80589"/>
                    <a:pt x="0" y="180000"/>
                  </a:cubicBezTo>
                  <a:cubicBezTo>
                    <a:pt x="0" y="279411"/>
                    <a:pt x="80589" y="360000"/>
                    <a:pt x="180000" y="360000"/>
                  </a:cubicBezTo>
                  <a:cubicBezTo>
                    <a:pt x="279411" y="360000"/>
                    <a:pt x="360000" y="279411"/>
                    <a:pt x="360000" y="180000"/>
                  </a:cubicBezTo>
                  <a:cubicBezTo>
                    <a:pt x="360000" y="80589"/>
                    <a:pt x="279411" y="0"/>
                    <a:pt x="180000" y="0"/>
                  </a:cubicBezTo>
                  <a:close/>
                  <a:moveTo>
                    <a:pt x="285676" y="126094"/>
                  </a:moveTo>
                  <a:lnTo>
                    <a:pt x="158924" y="252846"/>
                  </a:lnTo>
                  <a:cubicBezTo>
                    <a:pt x="155008" y="256778"/>
                    <a:pt x="148646" y="256792"/>
                    <a:pt x="144715" y="252876"/>
                  </a:cubicBezTo>
                  <a:cubicBezTo>
                    <a:pt x="144704" y="252865"/>
                    <a:pt x="144694" y="252856"/>
                    <a:pt x="144685" y="252846"/>
                  </a:cubicBezTo>
                  <a:lnTo>
                    <a:pt x="57990" y="166151"/>
                  </a:lnTo>
                  <a:cubicBezTo>
                    <a:pt x="54126" y="162146"/>
                    <a:pt x="54240" y="155769"/>
                    <a:pt x="58244" y="151905"/>
                  </a:cubicBezTo>
                  <a:cubicBezTo>
                    <a:pt x="62150" y="148136"/>
                    <a:pt x="68339" y="148139"/>
                    <a:pt x="72242" y="151912"/>
                  </a:cubicBezTo>
                  <a:lnTo>
                    <a:pt x="151791" y="231475"/>
                  </a:lnTo>
                  <a:lnTo>
                    <a:pt x="271424" y="111922"/>
                  </a:lnTo>
                  <a:cubicBezTo>
                    <a:pt x="275217" y="107852"/>
                    <a:pt x="281593" y="107627"/>
                    <a:pt x="285663" y="111420"/>
                  </a:cubicBezTo>
                  <a:cubicBezTo>
                    <a:pt x="289733" y="115213"/>
                    <a:pt x="289959" y="121588"/>
                    <a:pt x="286165" y="125659"/>
                  </a:cubicBezTo>
                  <a:cubicBezTo>
                    <a:pt x="286004" y="125832"/>
                    <a:pt x="285836" y="126000"/>
                    <a:pt x="285663" y="126161"/>
                  </a:cubicBezTo>
                  <a:close/>
                </a:path>
              </a:pathLst>
            </a:custGeom>
            <a:solidFill>
              <a:schemeClr val="tx2"/>
            </a:solidFill>
            <a:ln w="13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41366482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6" grpId="0"/>
      <p:bldP spid="67" grpId="0"/>
      <p:bldP spid="69" grpId="0"/>
      <p:bldP spid="79" grpId="0"/>
      <p:bldP spid="81" grpId="0"/>
      <p:bldP spid="8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699E0592-62CE-A848-89BB-1461528C3186}"/>
              </a:ext>
            </a:extLst>
          </p:cNvPr>
          <p:cNvSpPr/>
          <p:nvPr/>
        </p:nvSpPr>
        <p:spPr>
          <a:xfrm>
            <a:off x="6121957" y="1953694"/>
            <a:ext cx="5770525" cy="419892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  <a:shade val="30000"/>
                  <a:satMod val="115000"/>
                </a:schemeClr>
              </a:gs>
              <a:gs pos="50000">
                <a:schemeClr val="bg1">
                  <a:lumMod val="85000"/>
                  <a:shade val="67500"/>
                  <a:satMod val="115000"/>
                </a:schemeClr>
              </a:gs>
              <a:gs pos="100000">
                <a:schemeClr val="bg1">
                  <a:lumMod val="85000"/>
                  <a:shade val="100000"/>
                  <a:satMod val="115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just"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180340" algn="l"/>
              </a:tabLst>
            </a:pPr>
            <a:r>
              <a:rPr lang="ru-RU" sz="1300" dirty="0">
                <a:solidFill>
                  <a:schemeClr val="tx1"/>
                </a:solidFill>
              </a:rPr>
              <a:t>Исследования по изучению радиационной обстановки во время проведения работ по рекультивации;</a:t>
            </a:r>
          </a:p>
          <a:p>
            <a:pPr marL="171450" indent="-171450" algn="just"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180340" algn="l"/>
              </a:tabLst>
            </a:pPr>
            <a:r>
              <a:rPr lang="ru-RU" sz="1300" dirty="0">
                <a:solidFill>
                  <a:schemeClr val="tx1"/>
                </a:solidFill>
              </a:rPr>
              <a:t>Измерения мощности дозы гамма-излучения на </a:t>
            </a:r>
            <a:r>
              <a:rPr lang="ru-RU" sz="1300" dirty="0" err="1">
                <a:solidFill>
                  <a:schemeClr val="tx1"/>
                </a:solidFill>
              </a:rPr>
              <a:t>хвостохранилище</a:t>
            </a:r>
            <a:r>
              <a:rPr lang="ru-RU" sz="1300" dirty="0">
                <a:solidFill>
                  <a:schemeClr val="tx1"/>
                </a:solidFill>
              </a:rPr>
              <a:t>, территории цеха №1 и шахты №5, на территории г. </a:t>
            </a:r>
            <a:r>
              <a:rPr lang="ru-RU" sz="1300" dirty="0" err="1">
                <a:solidFill>
                  <a:schemeClr val="tx1"/>
                </a:solidFill>
              </a:rPr>
              <a:t>Истиклол</a:t>
            </a:r>
            <a:r>
              <a:rPr lang="ru-RU" sz="1300" dirty="0">
                <a:solidFill>
                  <a:schemeClr val="tx1"/>
                </a:solidFill>
              </a:rPr>
              <a:t> и пос. Старый </a:t>
            </a:r>
            <a:r>
              <a:rPr lang="ru-RU" sz="1300" dirty="0" err="1">
                <a:solidFill>
                  <a:schemeClr val="tx1"/>
                </a:solidFill>
              </a:rPr>
              <a:t>Табошар</a:t>
            </a:r>
            <a:r>
              <a:rPr lang="ru-RU" sz="1300" dirty="0">
                <a:solidFill>
                  <a:schemeClr val="tx1"/>
                </a:solidFill>
              </a:rPr>
              <a:t> (включая пос. Солнечный): отобрано 3 пробы питьевой воды из источников централизованного водоснабжения и 2 пробы воды открытых водоемов;</a:t>
            </a:r>
          </a:p>
          <a:p>
            <a:pPr marL="171450" indent="-171450" algn="just"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180340" algn="l"/>
              </a:tabLst>
            </a:pPr>
            <a:r>
              <a:rPr lang="ru-RU" sz="1300" dirty="0">
                <a:solidFill>
                  <a:schemeClr val="tx1"/>
                </a:solidFill>
              </a:rPr>
              <a:t>Лабораторные исследования отобранных проб и оценка целевых показателей Программы на объектах рекультивации;</a:t>
            </a:r>
          </a:p>
          <a:p>
            <a:pPr marL="171450" indent="-171450" algn="just"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180340" algn="l"/>
                <a:tab pos="900430" algn="l"/>
              </a:tabLst>
            </a:pPr>
            <a:r>
              <a:rPr lang="ru-RU" sz="1300" dirty="0">
                <a:solidFill>
                  <a:schemeClr val="tx1"/>
                </a:solidFill>
              </a:rPr>
              <a:t>Сбор форм № 7 «Сведения о заболеваниях злокачественными новообразованиями» и «Численность населения по полу и возрасту» по обследуемым районам за 2021 г.;</a:t>
            </a:r>
          </a:p>
          <a:p>
            <a:pPr marL="171450" indent="-171450" algn="just"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180340" algn="l"/>
              </a:tabLst>
            </a:pPr>
            <a:r>
              <a:rPr lang="ru-RU" sz="1300" dirty="0">
                <a:solidFill>
                  <a:schemeClr val="tx1"/>
                </a:solidFill>
              </a:rPr>
              <a:t>Организация флюорографического обследования населения в зонах наблюдения в г. </a:t>
            </a:r>
            <a:r>
              <a:rPr lang="ru-RU" sz="1300" dirty="0" err="1">
                <a:solidFill>
                  <a:schemeClr val="tx1"/>
                </a:solidFill>
              </a:rPr>
              <a:t>Истиклол</a:t>
            </a:r>
            <a:r>
              <a:rPr lang="ru-RU" sz="1300" dirty="0">
                <a:solidFill>
                  <a:schemeClr val="tx1"/>
                </a:solidFill>
              </a:rPr>
              <a:t>; </a:t>
            </a:r>
          </a:p>
          <a:p>
            <a:pPr marL="171450" indent="-171450" algn="just"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180340" algn="l"/>
              </a:tabLst>
            </a:pPr>
            <a:r>
              <a:rPr lang="ru-RU" sz="1300" dirty="0">
                <a:solidFill>
                  <a:schemeClr val="tx1"/>
                </a:solidFill>
              </a:rPr>
              <a:t>Расчёт интенсивных показателей здоровья населения, ошибки показателя, темпа прироста.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3C500DE2-5321-064D-B2FC-EE0A5DE002A9}"/>
              </a:ext>
            </a:extLst>
          </p:cNvPr>
          <p:cNvSpPr/>
          <p:nvPr/>
        </p:nvSpPr>
        <p:spPr>
          <a:xfrm>
            <a:off x="6121957" y="1500377"/>
            <a:ext cx="5770525" cy="42482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ТАДЖИКИСТАН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3C500DE2-5321-064D-B2FC-EE0A5DE002A9}"/>
              </a:ext>
            </a:extLst>
          </p:cNvPr>
          <p:cNvSpPr/>
          <p:nvPr/>
        </p:nvSpPr>
        <p:spPr>
          <a:xfrm>
            <a:off x="325475" y="1500539"/>
            <a:ext cx="5770524" cy="4248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КИРГИЗИЯ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699E0592-62CE-A848-89BB-1461528C3186}"/>
              </a:ext>
            </a:extLst>
          </p:cNvPr>
          <p:cNvSpPr/>
          <p:nvPr/>
        </p:nvSpPr>
        <p:spPr>
          <a:xfrm>
            <a:off x="325474" y="1953694"/>
            <a:ext cx="5770525" cy="4198927"/>
          </a:xfrm>
          <a:prstGeom prst="rect">
            <a:avLst/>
          </a:prstGeom>
          <a:gradFill flip="none" rotWithShape="1">
            <a:gsLst>
              <a:gs pos="0">
                <a:schemeClr val="accent3">
                  <a:tint val="66000"/>
                  <a:satMod val="160000"/>
                </a:schemeClr>
              </a:gs>
              <a:gs pos="50000">
                <a:schemeClr val="accent3">
                  <a:tint val="44500"/>
                  <a:satMod val="160000"/>
                </a:schemeClr>
              </a:gs>
              <a:gs pos="100000">
                <a:schemeClr val="accent3">
                  <a:tint val="23500"/>
                  <a:satMod val="16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just"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180340" algn="l"/>
              </a:tabLst>
            </a:pPr>
            <a:r>
              <a:rPr lang="ru-RU" sz="1300" dirty="0">
                <a:solidFill>
                  <a:schemeClr val="tx1"/>
                </a:solidFill>
              </a:rPr>
              <a:t>Установка термолюминесцентных дозиметров в поселке Мин-Куш и по маршруту перевозки хвостового материала между «Туюк-</a:t>
            </a:r>
            <a:r>
              <a:rPr lang="ru-RU" sz="1300" dirty="0" err="1">
                <a:solidFill>
                  <a:schemeClr val="tx1"/>
                </a:solidFill>
              </a:rPr>
              <a:t>Суу</a:t>
            </a:r>
            <a:r>
              <a:rPr lang="ru-RU" sz="1300" dirty="0">
                <a:solidFill>
                  <a:schemeClr val="tx1"/>
                </a:solidFill>
              </a:rPr>
              <a:t>» - «Дальнее»;</a:t>
            </a:r>
          </a:p>
          <a:p>
            <a:pPr marL="171450" indent="-171450" algn="just"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180340" algn="l"/>
              </a:tabLst>
            </a:pPr>
            <a:r>
              <a:rPr lang="ru-RU" sz="1300" dirty="0">
                <a:solidFill>
                  <a:schemeClr val="tx1"/>
                </a:solidFill>
              </a:rPr>
              <a:t>Работы по созданию медико-демографического регистра (МДР) населения, проживающего в зонах наблюдения;</a:t>
            </a:r>
          </a:p>
          <a:p>
            <a:pPr marL="171450" indent="-171450" algn="just"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180340" algn="l"/>
              </a:tabLst>
            </a:pPr>
            <a:r>
              <a:rPr lang="ru-RU" sz="1300" dirty="0">
                <a:solidFill>
                  <a:schemeClr val="tx1"/>
                </a:solidFill>
              </a:rPr>
              <a:t>Передача программного обеспечения МДР для регистрации в Роспатент; </a:t>
            </a:r>
          </a:p>
          <a:p>
            <a:pPr marL="171450" indent="-171450" algn="just"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180340" algn="l"/>
              </a:tabLst>
            </a:pPr>
            <a:r>
              <a:rPr lang="ru-RU" sz="1300" dirty="0">
                <a:solidFill>
                  <a:schemeClr val="tx1"/>
                </a:solidFill>
              </a:rPr>
              <a:t>Разработка программы ввода медико-демографической информации в базу данных регистра; опытная эксплуатация регистра; </a:t>
            </a:r>
          </a:p>
          <a:p>
            <a:pPr marL="171450" indent="-171450" algn="just"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180340" algn="l"/>
              </a:tabLst>
            </a:pPr>
            <a:r>
              <a:rPr lang="ru-RU" sz="1300" dirty="0">
                <a:solidFill>
                  <a:schemeClr val="tx1"/>
                </a:solidFill>
              </a:rPr>
              <a:t>Государственная регистрация программы ввода данных в МДР и расчёты показателей здоровья населения, проживающего в зонах наблюдения;</a:t>
            </a:r>
          </a:p>
          <a:p>
            <a:pPr marL="171450" indent="-171450" algn="just"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180340" algn="l"/>
              </a:tabLst>
            </a:pPr>
            <a:r>
              <a:rPr lang="ru-RU" sz="1300" dirty="0">
                <a:solidFill>
                  <a:schemeClr val="tx1"/>
                </a:solidFill>
              </a:rPr>
              <a:t>Передача программного обеспечение МДР в МЧС КР; </a:t>
            </a:r>
          </a:p>
          <a:p>
            <a:pPr marL="171450" indent="-171450" algn="just"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180340" algn="l"/>
              </a:tabLst>
            </a:pPr>
            <a:r>
              <a:rPr lang="ru-RU" sz="1300" dirty="0">
                <a:solidFill>
                  <a:schemeClr val="tx1"/>
                </a:solidFill>
              </a:rPr>
              <a:t>Сбор форм № 7 «Сведения о заболеваниях злокачественными новообразованиями» и «Численность населения по полу и возрасту» по обследуемым районам;</a:t>
            </a:r>
          </a:p>
          <a:p>
            <a:pPr marL="171450" indent="-171450" algn="just"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180340" algn="l"/>
                <a:tab pos="810260" algn="l"/>
              </a:tabLst>
            </a:pPr>
            <a:r>
              <a:rPr lang="ru-RU" sz="1300" dirty="0">
                <a:solidFill>
                  <a:schemeClr val="tx1"/>
                </a:solidFill>
              </a:rPr>
              <a:t>Расчет интенсивных показателей здоровья населения, ошибки показателя, темпов прироста.</a:t>
            </a:r>
          </a:p>
        </p:txBody>
      </p:sp>
      <p:sp>
        <p:nvSpPr>
          <p:cNvPr id="13" name="Заголовок 5"/>
          <p:cNvSpPr txBox="1">
            <a:spLocks/>
          </p:cNvSpPr>
          <p:nvPr/>
        </p:nvSpPr>
        <p:spPr>
          <a:xfrm>
            <a:off x="325475" y="397860"/>
            <a:ext cx="8492084" cy="374033"/>
          </a:xfrm>
          <a:prstGeom prst="rect">
            <a:avLst/>
          </a:prstGeom>
        </p:spPr>
        <p:txBody>
          <a:bodyPr lIns="0" tIns="0" rIns="0" bIns="0"/>
          <a:lstStyle>
            <a:lvl1pPr algn="l" defTabSz="104269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3200" b="1" kern="120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sz="2400" dirty="0"/>
              <a:t>Социально - гигиенический мониторинг</a:t>
            </a:r>
            <a:endParaRPr lang="ru-RU" sz="2300" dirty="0"/>
          </a:p>
        </p:txBody>
      </p:sp>
      <p:sp>
        <p:nvSpPr>
          <p:cNvPr id="11" name="Полилиния 10">
            <a:extLst>
              <a:ext uri="{FF2B5EF4-FFF2-40B4-BE49-F238E27FC236}">
                <a16:creationId xmlns:a16="http://schemas.microsoft.com/office/drawing/2014/main" id="{F3399F15-2272-D43C-AD76-0695536878C1}"/>
              </a:ext>
            </a:extLst>
          </p:cNvPr>
          <p:cNvSpPr/>
          <p:nvPr/>
        </p:nvSpPr>
        <p:spPr>
          <a:xfrm>
            <a:off x="10982765" y="147283"/>
            <a:ext cx="720000" cy="720000"/>
          </a:xfrm>
          <a:custGeom>
            <a:avLst/>
            <a:gdLst>
              <a:gd name="connsiteX0" fmla="*/ 70469 w 360606"/>
              <a:gd name="connsiteY0" fmla="*/ 240819 h 360583"/>
              <a:gd name="connsiteX1" fmla="*/ 176281 w 360606"/>
              <a:gd name="connsiteY1" fmla="*/ 247815 h 360583"/>
              <a:gd name="connsiteX2" fmla="*/ 225231 w 360606"/>
              <a:gd name="connsiteY2" fmla="*/ 252840 h 360583"/>
              <a:gd name="connsiteX3" fmla="*/ 201443 w 360606"/>
              <a:gd name="connsiteY3" fmla="*/ 359403 h 360583"/>
              <a:gd name="connsiteX4" fmla="*/ 110158 w 360606"/>
              <a:gd name="connsiteY4" fmla="*/ 346288 h 360583"/>
              <a:gd name="connsiteX5" fmla="*/ 70469 w 360606"/>
              <a:gd name="connsiteY5" fmla="*/ 240819 h 360583"/>
              <a:gd name="connsiteX6" fmla="*/ 360606 w 360606"/>
              <a:gd name="connsiteY6" fmla="*/ 195902 h 360583"/>
              <a:gd name="connsiteX7" fmla="*/ 337123 w 360606"/>
              <a:gd name="connsiteY7" fmla="*/ 270459 h 360583"/>
              <a:gd name="connsiteX8" fmla="*/ 210818 w 360606"/>
              <a:gd name="connsiteY8" fmla="*/ 358016 h 360583"/>
              <a:gd name="connsiteX9" fmla="*/ 233067 w 360606"/>
              <a:gd name="connsiteY9" fmla="*/ 258094 h 360583"/>
              <a:gd name="connsiteX10" fmla="*/ 287766 w 360606"/>
              <a:gd name="connsiteY10" fmla="*/ 253807 h 360583"/>
              <a:gd name="connsiteX11" fmla="*/ 360606 w 360606"/>
              <a:gd name="connsiteY11" fmla="*/ 195902 h 360583"/>
              <a:gd name="connsiteX12" fmla="*/ 180300 w 360606"/>
              <a:gd name="connsiteY12" fmla="*/ 142474 h 360583"/>
              <a:gd name="connsiteX13" fmla="*/ 180351 w 360606"/>
              <a:gd name="connsiteY13" fmla="*/ 142474 h 360583"/>
              <a:gd name="connsiteX14" fmla="*/ 218183 w 360606"/>
              <a:gd name="connsiteY14" fmla="*/ 180331 h 360583"/>
              <a:gd name="connsiteX15" fmla="*/ 180326 w 360606"/>
              <a:gd name="connsiteY15" fmla="*/ 218214 h 360583"/>
              <a:gd name="connsiteX16" fmla="*/ 142443 w 360606"/>
              <a:gd name="connsiteY16" fmla="*/ 180357 h 360583"/>
              <a:gd name="connsiteX17" fmla="*/ 180300 w 360606"/>
              <a:gd name="connsiteY17" fmla="*/ 142474 h 360583"/>
              <a:gd name="connsiteX18" fmla="*/ 11355 w 360606"/>
              <a:gd name="connsiteY18" fmla="*/ 117528 h 360583"/>
              <a:gd name="connsiteX19" fmla="*/ 86930 w 360606"/>
              <a:gd name="connsiteY19" fmla="*/ 186729 h 360583"/>
              <a:gd name="connsiteX20" fmla="*/ 63282 w 360606"/>
              <a:gd name="connsiteY20" fmla="*/ 236150 h 360583"/>
              <a:gd name="connsiteX21" fmla="*/ 77084 w 360606"/>
              <a:gd name="connsiteY21" fmla="*/ 328083 h 360583"/>
              <a:gd name="connsiteX22" fmla="*/ 24191 w 360606"/>
              <a:gd name="connsiteY22" fmla="*/ 270433 h 360583"/>
              <a:gd name="connsiteX23" fmla="*/ 11355 w 360606"/>
              <a:gd name="connsiteY23" fmla="*/ 117528 h 360583"/>
              <a:gd name="connsiteX24" fmla="*/ 325674 w 360606"/>
              <a:gd name="connsiteY24" fmla="*/ 72764 h 360583"/>
              <a:gd name="connsiteX25" fmla="*/ 359893 w 360606"/>
              <a:gd name="connsiteY25" fmla="*/ 158261 h 360583"/>
              <a:gd name="connsiteX26" fmla="*/ 288313 w 360606"/>
              <a:gd name="connsiteY26" fmla="*/ 245297 h 360583"/>
              <a:gd name="connsiteX27" fmla="*/ 241475 w 360606"/>
              <a:gd name="connsiteY27" fmla="*/ 150323 h 360583"/>
              <a:gd name="connsiteX28" fmla="*/ 221363 w 360606"/>
              <a:gd name="connsiteY28" fmla="*/ 105482 h 360583"/>
              <a:gd name="connsiteX29" fmla="*/ 325674 w 360606"/>
              <a:gd name="connsiteY29" fmla="*/ 72764 h 360583"/>
              <a:gd name="connsiteX30" fmla="*/ 100647 w 360606"/>
              <a:gd name="connsiteY30" fmla="*/ 25566 h 360583"/>
              <a:gd name="connsiteX31" fmla="*/ 183226 w 360606"/>
              <a:gd name="connsiteY31" fmla="*/ 54777 h 360583"/>
              <a:gd name="connsiteX32" fmla="*/ 124265 w 360606"/>
              <a:gd name="connsiteY32" fmla="*/ 142754 h 360583"/>
              <a:gd name="connsiteX33" fmla="*/ 95427 w 360606"/>
              <a:gd name="connsiteY33" fmla="*/ 182570 h 360583"/>
              <a:gd name="connsiteX34" fmla="*/ 14891 w 360606"/>
              <a:gd name="connsiteY34" fmla="*/ 108726 h 360583"/>
              <a:gd name="connsiteX35" fmla="*/ 71919 w 360606"/>
              <a:gd name="connsiteY35" fmla="*/ 36357 h 360583"/>
              <a:gd name="connsiteX36" fmla="*/ 100647 w 360606"/>
              <a:gd name="connsiteY36" fmla="*/ 25566 h 360583"/>
              <a:gd name="connsiteX37" fmla="*/ 180656 w 360606"/>
              <a:gd name="connsiteY37" fmla="*/ 0 h 360583"/>
              <a:gd name="connsiteX38" fmla="*/ 319746 w 360606"/>
              <a:gd name="connsiteY38" fmla="*/ 65309 h 360583"/>
              <a:gd name="connsiteX39" fmla="*/ 221897 w 360606"/>
              <a:gd name="connsiteY39" fmla="*/ 96055 h 360583"/>
              <a:gd name="connsiteX40" fmla="*/ 190846 w 360606"/>
              <a:gd name="connsiteY40" fmla="*/ 50934 h 360583"/>
              <a:gd name="connsiteX41" fmla="*/ 104204 w 360606"/>
              <a:gd name="connsiteY41" fmla="*/ 16906 h 360583"/>
              <a:gd name="connsiteX42" fmla="*/ 180656 w 360606"/>
              <a:gd name="connsiteY42" fmla="*/ 0 h 360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360606" h="360583">
                <a:moveTo>
                  <a:pt x="70469" y="240819"/>
                </a:moveTo>
                <a:cubicBezTo>
                  <a:pt x="97539" y="256199"/>
                  <a:pt x="138691" y="256364"/>
                  <a:pt x="176281" y="247815"/>
                </a:cubicBezTo>
                <a:cubicBezTo>
                  <a:pt x="206951" y="240819"/>
                  <a:pt x="220384" y="248490"/>
                  <a:pt x="225231" y="252840"/>
                </a:cubicBezTo>
                <a:cubicBezTo>
                  <a:pt x="187348" y="298444"/>
                  <a:pt x="197143" y="344583"/>
                  <a:pt x="201443" y="359403"/>
                </a:cubicBezTo>
                <a:cubicBezTo>
                  <a:pt x="170392" y="362961"/>
                  <a:pt x="138950" y="358442"/>
                  <a:pt x="110158" y="346288"/>
                </a:cubicBezTo>
                <a:cubicBezTo>
                  <a:pt x="71982" y="325934"/>
                  <a:pt x="60381" y="280775"/>
                  <a:pt x="70469" y="240819"/>
                </a:cubicBezTo>
                <a:close/>
                <a:moveTo>
                  <a:pt x="360606" y="195902"/>
                </a:moveTo>
                <a:cubicBezTo>
                  <a:pt x="358360" y="222179"/>
                  <a:pt x="350340" y="247636"/>
                  <a:pt x="337123" y="270459"/>
                </a:cubicBezTo>
                <a:cubicBezTo>
                  <a:pt x="310202" y="317035"/>
                  <a:pt x="263879" y="349148"/>
                  <a:pt x="210818" y="358016"/>
                </a:cubicBezTo>
                <a:cubicBezTo>
                  <a:pt x="204725" y="339012"/>
                  <a:pt x="200145" y="297033"/>
                  <a:pt x="233067" y="258094"/>
                </a:cubicBezTo>
                <a:cubicBezTo>
                  <a:pt x="253420" y="259583"/>
                  <a:pt x="271700" y="258196"/>
                  <a:pt x="287766" y="253807"/>
                </a:cubicBezTo>
                <a:cubicBezTo>
                  <a:pt x="320357" y="245284"/>
                  <a:pt x="347885" y="224193"/>
                  <a:pt x="360606" y="195902"/>
                </a:cubicBezTo>
                <a:close/>
                <a:moveTo>
                  <a:pt x="180300" y="142474"/>
                </a:moveTo>
                <a:cubicBezTo>
                  <a:pt x="180317" y="142474"/>
                  <a:pt x="180335" y="142474"/>
                  <a:pt x="180351" y="142474"/>
                </a:cubicBezTo>
                <a:cubicBezTo>
                  <a:pt x="201249" y="142488"/>
                  <a:pt x="218183" y="159433"/>
                  <a:pt x="218183" y="180331"/>
                </a:cubicBezTo>
                <a:cubicBezTo>
                  <a:pt x="218191" y="201247"/>
                  <a:pt x="201241" y="218206"/>
                  <a:pt x="180326" y="218214"/>
                </a:cubicBezTo>
                <a:cubicBezTo>
                  <a:pt x="159410" y="218220"/>
                  <a:pt x="142451" y="201271"/>
                  <a:pt x="142443" y="180357"/>
                </a:cubicBezTo>
                <a:cubicBezTo>
                  <a:pt x="142435" y="159441"/>
                  <a:pt x="159386" y="142482"/>
                  <a:pt x="180300" y="142474"/>
                </a:cubicBezTo>
                <a:close/>
                <a:moveTo>
                  <a:pt x="11355" y="117528"/>
                </a:moveTo>
                <a:cubicBezTo>
                  <a:pt x="30958" y="121777"/>
                  <a:pt x="69604" y="138797"/>
                  <a:pt x="86930" y="186729"/>
                </a:cubicBezTo>
                <a:cubicBezTo>
                  <a:pt x="75507" y="203534"/>
                  <a:pt x="67531" y="220071"/>
                  <a:pt x="63282" y="236150"/>
                </a:cubicBezTo>
                <a:cubicBezTo>
                  <a:pt x="54390" y="268588"/>
                  <a:pt x="58880" y="302973"/>
                  <a:pt x="77084" y="328083"/>
                </a:cubicBezTo>
                <a:cubicBezTo>
                  <a:pt x="55436" y="312981"/>
                  <a:pt x="37377" y="293298"/>
                  <a:pt x="24191" y="270433"/>
                </a:cubicBezTo>
                <a:cubicBezTo>
                  <a:pt x="-2731" y="223946"/>
                  <a:pt x="-7440" y="167852"/>
                  <a:pt x="11355" y="117528"/>
                </a:cubicBezTo>
                <a:close/>
                <a:moveTo>
                  <a:pt x="325674" y="72764"/>
                </a:moveTo>
                <a:cubicBezTo>
                  <a:pt x="344271" y="97831"/>
                  <a:pt x="356060" y="127286"/>
                  <a:pt x="359893" y="158261"/>
                </a:cubicBezTo>
                <a:cubicBezTo>
                  <a:pt x="361292" y="201435"/>
                  <a:pt x="327964" y="234064"/>
                  <a:pt x="288313" y="245297"/>
                </a:cubicBezTo>
                <a:cubicBezTo>
                  <a:pt x="288122" y="214207"/>
                  <a:pt x="267692" y="178551"/>
                  <a:pt x="241475" y="150323"/>
                </a:cubicBezTo>
                <a:cubicBezTo>
                  <a:pt x="220091" y="127298"/>
                  <a:pt x="220015" y="111842"/>
                  <a:pt x="221363" y="105482"/>
                </a:cubicBezTo>
                <a:cubicBezTo>
                  <a:pt x="279879" y="115442"/>
                  <a:pt x="314963" y="83895"/>
                  <a:pt x="325674" y="72764"/>
                </a:cubicBezTo>
                <a:close/>
                <a:moveTo>
                  <a:pt x="100647" y="25566"/>
                </a:moveTo>
                <a:cubicBezTo>
                  <a:pt x="130180" y="20809"/>
                  <a:pt x="161025" y="33253"/>
                  <a:pt x="183226" y="54777"/>
                </a:cubicBezTo>
                <a:cubicBezTo>
                  <a:pt x="156360" y="70487"/>
                  <a:pt x="135637" y="105978"/>
                  <a:pt x="124265" y="142754"/>
                </a:cubicBezTo>
                <a:cubicBezTo>
                  <a:pt x="114991" y="172775"/>
                  <a:pt x="101622" y="180548"/>
                  <a:pt x="95427" y="182570"/>
                </a:cubicBezTo>
                <a:cubicBezTo>
                  <a:pt x="74819" y="127006"/>
                  <a:pt x="29889" y="112415"/>
                  <a:pt x="14891" y="108726"/>
                </a:cubicBezTo>
                <a:cubicBezTo>
                  <a:pt x="27329" y="80081"/>
                  <a:pt x="46977" y="55148"/>
                  <a:pt x="71919" y="36357"/>
                </a:cubicBezTo>
                <a:cubicBezTo>
                  <a:pt x="81103" y="30648"/>
                  <a:pt x="90802" y="27152"/>
                  <a:pt x="100647" y="25566"/>
                </a:cubicBezTo>
                <a:close/>
                <a:moveTo>
                  <a:pt x="180656" y="0"/>
                </a:moveTo>
                <a:cubicBezTo>
                  <a:pt x="234439" y="-61"/>
                  <a:pt x="285442" y="23887"/>
                  <a:pt x="319746" y="65309"/>
                </a:cubicBezTo>
                <a:cubicBezTo>
                  <a:pt x="306300" y="80141"/>
                  <a:pt x="272246" y="105036"/>
                  <a:pt x="221897" y="96055"/>
                </a:cubicBezTo>
                <a:cubicBezTo>
                  <a:pt x="213069" y="77801"/>
                  <a:pt x="202689" y="62638"/>
                  <a:pt x="190846" y="50934"/>
                </a:cubicBezTo>
                <a:cubicBezTo>
                  <a:pt x="167159" y="27083"/>
                  <a:pt x="135090" y="13726"/>
                  <a:pt x="104204" y="16906"/>
                </a:cubicBezTo>
                <a:cubicBezTo>
                  <a:pt x="128142" y="5738"/>
                  <a:pt x="154241" y="-34"/>
                  <a:pt x="180656" y="0"/>
                </a:cubicBezTo>
                <a:close/>
              </a:path>
            </a:pathLst>
          </a:custGeom>
          <a:solidFill>
            <a:schemeClr val="accent2"/>
          </a:solidFill>
          <a:ln w="124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2" name="TextBox 11"/>
          <p:cNvSpPr txBox="1"/>
          <p:nvPr/>
        </p:nvSpPr>
        <p:spPr>
          <a:xfrm>
            <a:off x="10747105" y="893730"/>
            <a:ext cx="119131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500" b="1" dirty="0"/>
              <a:t>РОС</a:t>
            </a:r>
            <a:r>
              <a:rPr lang="ru-RU" sz="1500" dirty="0"/>
              <a:t>АТОМ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56F94B18-375D-D666-10A7-31DD7387C6E8}"/>
              </a:ext>
            </a:extLst>
          </p:cNvPr>
          <p:cNvGrpSpPr/>
          <p:nvPr/>
        </p:nvGrpSpPr>
        <p:grpSpPr>
          <a:xfrm>
            <a:off x="849235" y="728354"/>
            <a:ext cx="545669" cy="515891"/>
            <a:chOff x="1058423" y="1769124"/>
            <a:chExt cx="719999" cy="720000"/>
          </a:xfrm>
        </p:grpSpPr>
        <p:pic>
          <p:nvPicPr>
            <p:cNvPr id="3" name="Рисунок 2">
              <a:extLst>
                <a:ext uri="{FF2B5EF4-FFF2-40B4-BE49-F238E27FC236}">
                  <a16:creationId xmlns:a16="http://schemas.microsoft.com/office/drawing/2014/main" id="{22939DFE-CD09-9318-72CB-E46EBE3DA34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/>
            <a:stretch/>
          </p:blipFill>
          <p:spPr>
            <a:xfrm>
              <a:off x="1058423" y="1769124"/>
              <a:ext cx="719999" cy="720000"/>
            </a:xfrm>
            <a:prstGeom prst="rect">
              <a:avLst/>
            </a:prstGeom>
          </p:spPr>
        </p:pic>
        <p:sp>
          <p:nvSpPr>
            <p:cNvPr id="4" name="Полилиния 34">
              <a:extLst>
                <a:ext uri="{FF2B5EF4-FFF2-40B4-BE49-F238E27FC236}">
                  <a16:creationId xmlns:a16="http://schemas.microsoft.com/office/drawing/2014/main" id="{3AC2B173-A5E2-57A3-7077-D396FD9AA10E}"/>
                </a:ext>
              </a:extLst>
            </p:cNvPr>
            <p:cNvSpPr/>
            <p:nvPr/>
          </p:nvSpPr>
          <p:spPr>
            <a:xfrm>
              <a:off x="1207623" y="1952086"/>
              <a:ext cx="404286" cy="419770"/>
            </a:xfrm>
            <a:custGeom>
              <a:avLst/>
              <a:gdLst>
                <a:gd name="connsiteX0" fmla="*/ 0 w 404286"/>
                <a:gd name="connsiteY0" fmla="*/ 300332 h 419770"/>
                <a:gd name="connsiteX1" fmla="*/ 59690 w 404286"/>
                <a:gd name="connsiteY1" fmla="*/ 300332 h 419770"/>
                <a:gd name="connsiteX2" fmla="*/ 66407 w 404286"/>
                <a:gd name="connsiteY2" fmla="*/ 307089 h 419770"/>
                <a:gd name="connsiteX3" fmla="*/ 66407 w 404286"/>
                <a:gd name="connsiteY3" fmla="*/ 373591 h 419770"/>
                <a:gd name="connsiteX4" fmla="*/ 0 w 404286"/>
                <a:gd name="connsiteY4" fmla="*/ 300332 h 419770"/>
                <a:gd name="connsiteX5" fmla="*/ 118588 w 404286"/>
                <a:gd name="connsiteY5" fmla="*/ 299163 h 419770"/>
                <a:gd name="connsiteX6" fmla="*/ 152229 w 404286"/>
                <a:gd name="connsiteY6" fmla="*/ 303556 h 419770"/>
                <a:gd name="connsiteX7" fmla="*/ 187746 w 404286"/>
                <a:gd name="connsiteY7" fmla="*/ 308714 h 419770"/>
                <a:gd name="connsiteX8" fmla="*/ 193638 w 404286"/>
                <a:gd name="connsiteY8" fmla="*/ 308572 h 419770"/>
                <a:gd name="connsiteX9" fmla="*/ 265163 w 404286"/>
                <a:gd name="connsiteY9" fmla="*/ 305065 h 419770"/>
                <a:gd name="connsiteX10" fmla="*/ 266065 w 404286"/>
                <a:gd name="connsiteY10" fmla="*/ 305065 h 419770"/>
                <a:gd name="connsiteX11" fmla="*/ 284851 w 404286"/>
                <a:gd name="connsiteY11" fmla="*/ 321960 h 419770"/>
                <a:gd name="connsiteX12" fmla="*/ 268063 w 404286"/>
                <a:gd name="connsiteY12" fmla="*/ 342694 h 419770"/>
                <a:gd name="connsiteX13" fmla="*/ 192619 w 404286"/>
                <a:gd name="connsiteY13" fmla="*/ 350792 h 419770"/>
                <a:gd name="connsiteX14" fmla="*/ 186263 w 404286"/>
                <a:gd name="connsiteY14" fmla="*/ 357872 h 419770"/>
                <a:gd name="connsiteX15" fmla="*/ 186263 w 404286"/>
                <a:gd name="connsiteY15" fmla="*/ 358207 h 419770"/>
                <a:gd name="connsiteX16" fmla="*/ 193367 w 404286"/>
                <a:gd name="connsiteY16" fmla="*/ 364990 h 419770"/>
                <a:gd name="connsiteX17" fmla="*/ 194076 w 404286"/>
                <a:gd name="connsiteY17" fmla="*/ 364990 h 419770"/>
                <a:gd name="connsiteX18" fmla="*/ 259593 w 404286"/>
                <a:gd name="connsiteY18" fmla="*/ 358542 h 419770"/>
                <a:gd name="connsiteX19" fmla="*/ 302511 w 404286"/>
                <a:gd name="connsiteY19" fmla="*/ 344963 h 419770"/>
                <a:gd name="connsiteX20" fmla="*/ 373301 w 404286"/>
                <a:gd name="connsiteY20" fmla="*/ 304987 h 419770"/>
                <a:gd name="connsiteX21" fmla="*/ 401457 w 404286"/>
                <a:gd name="connsiteY21" fmla="*/ 312660 h 419770"/>
                <a:gd name="connsiteX22" fmla="*/ 403997 w 404286"/>
                <a:gd name="connsiteY22" fmla="*/ 326536 h 419770"/>
                <a:gd name="connsiteX23" fmla="*/ 389532 w 404286"/>
                <a:gd name="connsiteY23" fmla="*/ 343545 h 419770"/>
                <a:gd name="connsiteX24" fmla="*/ 282670 w 404286"/>
                <a:gd name="connsiteY24" fmla="*/ 405753 h 419770"/>
                <a:gd name="connsiteX25" fmla="*/ 230715 w 404286"/>
                <a:gd name="connsiteY25" fmla="*/ 419770 h 419770"/>
                <a:gd name="connsiteX26" fmla="*/ 225649 w 404286"/>
                <a:gd name="connsiteY26" fmla="*/ 419641 h 419770"/>
                <a:gd name="connsiteX27" fmla="*/ 162478 w 404286"/>
                <a:gd name="connsiteY27" fmla="*/ 416533 h 419770"/>
                <a:gd name="connsiteX28" fmla="*/ 76578 w 404286"/>
                <a:gd name="connsiteY28" fmla="*/ 381135 h 419770"/>
                <a:gd name="connsiteX29" fmla="*/ 76578 w 404286"/>
                <a:gd name="connsiteY29" fmla="*/ 308572 h 419770"/>
                <a:gd name="connsiteX30" fmla="*/ 85254 w 404286"/>
                <a:gd name="connsiteY30" fmla="*/ 305477 h 419770"/>
                <a:gd name="connsiteX31" fmla="*/ 118588 w 404286"/>
                <a:gd name="connsiteY31" fmla="*/ 299163 h 419770"/>
                <a:gd name="connsiteX32" fmla="*/ 349271 w 404286"/>
                <a:gd name="connsiteY32" fmla="*/ 288738 h 419770"/>
                <a:gd name="connsiteX33" fmla="*/ 366791 w 404286"/>
                <a:gd name="connsiteY33" fmla="*/ 298332 h 419770"/>
                <a:gd name="connsiteX34" fmla="*/ 297522 w 404286"/>
                <a:gd name="connsiteY34" fmla="*/ 337522 h 419770"/>
                <a:gd name="connsiteX35" fmla="*/ 297445 w 404286"/>
                <a:gd name="connsiteY35" fmla="*/ 337522 h 419770"/>
                <a:gd name="connsiteX36" fmla="*/ 296155 w 404286"/>
                <a:gd name="connsiteY36" fmla="*/ 337870 h 419770"/>
                <a:gd name="connsiteX37" fmla="*/ 295326 w 404286"/>
                <a:gd name="connsiteY37" fmla="*/ 337737 h 419770"/>
                <a:gd name="connsiteX38" fmla="*/ 293577 w 404286"/>
                <a:gd name="connsiteY38" fmla="*/ 334311 h 419770"/>
                <a:gd name="connsiteX39" fmla="*/ 293886 w 404286"/>
                <a:gd name="connsiteY39" fmla="*/ 333331 h 419770"/>
                <a:gd name="connsiteX40" fmla="*/ 293100 w 404286"/>
                <a:gd name="connsiteY40" fmla="*/ 314851 h 419770"/>
                <a:gd name="connsiteX41" fmla="*/ 335205 w 404286"/>
                <a:gd name="connsiteY41" fmla="*/ 293380 h 419770"/>
                <a:gd name="connsiteX42" fmla="*/ 339679 w 404286"/>
                <a:gd name="connsiteY42" fmla="*/ 291098 h 419770"/>
                <a:gd name="connsiteX43" fmla="*/ 349271 w 404286"/>
                <a:gd name="connsiteY43" fmla="*/ 288738 h 419770"/>
                <a:gd name="connsiteX44" fmla="*/ 321483 w 404286"/>
                <a:gd name="connsiteY44" fmla="*/ 278103 h 419770"/>
                <a:gd name="connsiteX45" fmla="*/ 332872 w 404286"/>
                <a:gd name="connsiteY45" fmla="*/ 286314 h 419770"/>
                <a:gd name="connsiteX46" fmla="*/ 290883 w 404286"/>
                <a:gd name="connsiteY46" fmla="*/ 307721 h 419770"/>
                <a:gd name="connsiteX47" fmla="*/ 272834 w 404286"/>
                <a:gd name="connsiteY47" fmla="*/ 294503 h 419770"/>
                <a:gd name="connsiteX48" fmla="*/ 307475 w 404286"/>
                <a:gd name="connsiteY48" fmla="*/ 279028 h 419770"/>
                <a:gd name="connsiteX49" fmla="*/ 321483 w 404286"/>
                <a:gd name="connsiteY49" fmla="*/ 278103 h 419770"/>
                <a:gd name="connsiteX50" fmla="*/ 80730 w 404286"/>
                <a:gd name="connsiteY50" fmla="*/ 199102 h 419770"/>
                <a:gd name="connsiteX51" fmla="*/ 100610 w 404286"/>
                <a:gd name="connsiteY51" fmla="*/ 214332 h 419770"/>
                <a:gd name="connsiteX52" fmla="*/ 156045 w 404286"/>
                <a:gd name="connsiteY52" fmla="*/ 225757 h 419770"/>
                <a:gd name="connsiteX53" fmla="*/ 211558 w 404286"/>
                <a:gd name="connsiteY53" fmla="*/ 214332 h 419770"/>
                <a:gd name="connsiteX54" fmla="*/ 231425 w 404286"/>
                <a:gd name="connsiteY54" fmla="*/ 199102 h 419770"/>
                <a:gd name="connsiteX55" fmla="*/ 231425 w 404286"/>
                <a:gd name="connsiteY55" fmla="*/ 219735 h 419770"/>
                <a:gd name="connsiteX56" fmla="*/ 156097 w 404286"/>
                <a:gd name="connsiteY56" fmla="*/ 256603 h 419770"/>
                <a:gd name="connsiteX57" fmla="*/ 80730 w 404286"/>
                <a:gd name="connsiteY57" fmla="*/ 219735 h 419770"/>
                <a:gd name="connsiteX58" fmla="*/ 380920 w 404286"/>
                <a:gd name="connsiteY58" fmla="*/ 170957 h 419770"/>
                <a:gd name="connsiteX59" fmla="*/ 389662 w 404286"/>
                <a:gd name="connsiteY59" fmla="*/ 173543 h 419770"/>
                <a:gd name="connsiteX60" fmla="*/ 387096 w 404286"/>
                <a:gd name="connsiteY60" fmla="*/ 182286 h 419770"/>
                <a:gd name="connsiteX61" fmla="*/ 286538 w 404286"/>
                <a:gd name="connsiteY61" fmla="*/ 237272 h 419770"/>
                <a:gd name="connsiteX62" fmla="*/ 272937 w 404286"/>
                <a:gd name="connsiteY62" fmla="*/ 237646 h 419770"/>
                <a:gd name="connsiteX63" fmla="*/ 237871 w 404286"/>
                <a:gd name="connsiteY63" fmla="*/ 220882 h 419770"/>
                <a:gd name="connsiteX64" fmla="*/ 237871 w 404286"/>
                <a:gd name="connsiteY64" fmla="*/ 206697 h 419770"/>
                <a:gd name="connsiteX65" fmla="*/ 278558 w 404286"/>
                <a:gd name="connsiteY65" fmla="*/ 226040 h 419770"/>
                <a:gd name="connsiteX66" fmla="*/ 280415 w 404286"/>
                <a:gd name="connsiteY66" fmla="*/ 226040 h 419770"/>
                <a:gd name="connsiteX67" fmla="*/ 380908 w 404286"/>
                <a:gd name="connsiteY67" fmla="*/ 170964 h 419770"/>
                <a:gd name="connsiteX68" fmla="*/ 380920 w 404286"/>
                <a:gd name="connsiteY68" fmla="*/ 170957 h 419770"/>
                <a:gd name="connsiteX69" fmla="*/ 80730 w 404286"/>
                <a:gd name="connsiteY69" fmla="*/ 162259 h 419770"/>
                <a:gd name="connsiteX70" fmla="*/ 99926 w 404286"/>
                <a:gd name="connsiteY70" fmla="*/ 177140 h 419770"/>
                <a:gd name="connsiteX71" fmla="*/ 156045 w 404286"/>
                <a:gd name="connsiteY71" fmla="*/ 188901 h 419770"/>
                <a:gd name="connsiteX72" fmla="*/ 212229 w 404286"/>
                <a:gd name="connsiteY72" fmla="*/ 177140 h 419770"/>
                <a:gd name="connsiteX73" fmla="*/ 231425 w 404286"/>
                <a:gd name="connsiteY73" fmla="*/ 162259 h 419770"/>
                <a:gd name="connsiteX74" fmla="*/ 231425 w 404286"/>
                <a:gd name="connsiteY74" fmla="*/ 182453 h 419770"/>
                <a:gd name="connsiteX75" fmla="*/ 156097 w 404286"/>
                <a:gd name="connsiteY75" fmla="*/ 219322 h 419770"/>
                <a:gd name="connsiteX76" fmla="*/ 80730 w 404286"/>
                <a:gd name="connsiteY76" fmla="*/ 182453 h 419770"/>
                <a:gd name="connsiteX77" fmla="*/ 382476 w 404286"/>
                <a:gd name="connsiteY77" fmla="*/ 154175 h 419770"/>
                <a:gd name="connsiteX78" fmla="*/ 386826 w 404286"/>
                <a:gd name="connsiteY78" fmla="*/ 155476 h 419770"/>
                <a:gd name="connsiteX79" fmla="*/ 386837 w 404286"/>
                <a:gd name="connsiteY79" fmla="*/ 155496 h 419770"/>
                <a:gd name="connsiteX80" fmla="*/ 385536 w 404286"/>
                <a:gd name="connsiteY80" fmla="*/ 159847 h 419770"/>
                <a:gd name="connsiteX81" fmla="*/ 284979 w 404286"/>
                <a:gd name="connsiteY81" fmla="*/ 214834 h 419770"/>
                <a:gd name="connsiteX82" fmla="*/ 274317 w 404286"/>
                <a:gd name="connsiteY82" fmla="*/ 215130 h 419770"/>
                <a:gd name="connsiteX83" fmla="*/ 237871 w 404286"/>
                <a:gd name="connsiteY83" fmla="*/ 197747 h 419770"/>
                <a:gd name="connsiteX84" fmla="*/ 237871 w 404286"/>
                <a:gd name="connsiteY84" fmla="*/ 190603 h 419770"/>
                <a:gd name="connsiteX85" fmla="*/ 277101 w 404286"/>
                <a:gd name="connsiteY85" fmla="*/ 209315 h 419770"/>
                <a:gd name="connsiteX86" fmla="*/ 281897 w 404286"/>
                <a:gd name="connsiteY86" fmla="*/ 209173 h 419770"/>
                <a:gd name="connsiteX87" fmla="*/ 382455 w 404286"/>
                <a:gd name="connsiteY87" fmla="*/ 154186 h 419770"/>
                <a:gd name="connsiteX88" fmla="*/ 382476 w 404286"/>
                <a:gd name="connsiteY88" fmla="*/ 154175 h 419770"/>
                <a:gd name="connsiteX89" fmla="*/ 382455 w 404286"/>
                <a:gd name="connsiteY89" fmla="*/ 138506 h 419770"/>
                <a:gd name="connsiteX90" fmla="*/ 386826 w 404286"/>
                <a:gd name="connsiteY90" fmla="*/ 139795 h 419770"/>
                <a:gd name="connsiteX91" fmla="*/ 386837 w 404286"/>
                <a:gd name="connsiteY91" fmla="*/ 139816 h 419770"/>
                <a:gd name="connsiteX92" fmla="*/ 385536 w 404286"/>
                <a:gd name="connsiteY92" fmla="*/ 144167 h 419770"/>
                <a:gd name="connsiteX93" fmla="*/ 284979 w 404286"/>
                <a:gd name="connsiteY93" fmla="*/ 199153 h 419770"/>
                <a:gd name="connsiteX94" fmla="*/ 274317 w 404286"/>
                <a:gd name="connsiteY94" fmla="*/ 199450 h 419770"/>
                <a:gd name="connsiteX95" fmla="*/ 237871 w 404286"/>
                <a:gd name="connsiteY95" fmla="*/ 182067 h 419770"/>
                <a:gd name="connsiteX96" fmla="*/ 237871 w 404286"/>
                <a:gd name="connsiteY96" fmla="*/ 174923 h 419770"/>
                <a:gd name="connsiteX97" fmla="*/ 277101 w 404286"/>
                <a:gd name="connsiteY97" fmla="*/ 193634 h 419770"/>
                <a:gd name="connsiteX98" fmla="*/ 281897 w 404286"/>
                <a:gd name="connsiteY98" fmla="*/ 193505 h 419770"/>
                <a:gd name="connsiteX99" fmla="*/ 40365 w 404286"/>
                <a:gd name="connsiteY99" fmla="*/ 112470 h 419770"/>
                <a:gd name="connsiteX100" fmla="*/ 78319 w 404286"/>
                <a:gd name="connsiteY100" fmla="*/ 130523 h 419770"/>
                <a:gd name="connsiteX101" fmla="*/ 74348 w 404286"/>
                <a:gd name="connsiteY101" fmla="*/ 142929 h 419770"/>
                <a:gd name="connsiteX102" fmla="*/ 34821 w 404286"/>
                <a:gd name="connsiteY102" fmla="*/ 124076 h 419770"/>
                <a:gd name="connsiteX103" fmla="*/ 32008 w 404286"/>
                <a:gd name="connsiteY103" fmla="*/ 116114 h 419770"/>
                <a:gd name="connsiteX104" fmla="*/ 40365 w 404286"/>
                <a:gd name="connsiteY104" fmla="*/ 112470 h 419770"/>
                <a:gd name="connsiteX105" fmla="*/ 156097 w 404286"/>
                <a:gd name="connsiteY105" fmla="*/ 106834 h 419770"/>
                <a:gd name="connsiteX106" fmla="*/ 231477 w 404286"/>
                <a:gd name="connsiteY106" fmla="*/ 144644 h 419770"/>
                <a:gd name="connsiteX107" fmla="*/ 156097 w 404286"/>
                <a:gd name="connsiteY107" fmla="*/ 182453 h 419770"/>
                <a:gd name="connsiteX108" fmla="*/ 80717 w 404286"/>
                <a:gd name="connsiteY108" fmla="*/ 144644 h 419770"/>
                <a:gd name="connsiteX109" fmla="*/ 156097 w 404286"/>
                <a:gd name="connsiteY109" fmla="*/ 106834 h 419770"/>
                <a:gd name="connsiteX110" fmla="*/ 38985 w 404286"/>
                <a:gd name="connsiteY110" fmla="*/ 95706 h 419770"/>
                <a:gd name="connsiteX111" fmla="*/ 88465 w 404286"/>
                <a:gd name="connsiteY111" fmla="*/ 119317 h 419770"/>
                <a:gd name="connsiteX112" fmla="*/ 83308 w 404286"/>
                <a:gd name="connsiteY112" fmla="*/ 123998 h 419770"/>
                <a:gd name="connsiteX113" fmla="*/ 36200 w 404286"/>
                <a:gd name="connsiteY113" fmla="*/ 101522 h 419770"/>
                <a:gd name="connsiteX114" fmla="*/ 34686 w 404286"/>
                <a:gd name="connsiteY114" fmla="*/ 97221 h 419770"/>
                <a:gd name="connsiteX115" fmla="*/ 38985 w 404286"/>
                <a:gd name="connsiteY115" fmla="*/ 95706 h 419770"/>
                <a:gd name="connsiteX116" fmla="*/ 38998 w 404286"/>
                <a:gd name="connsiteY116" fmla="*/ 80024 h 419770"/>
                <a:gd name="connsiteX117" fmla="*/ 103136 w 404286"/>
                <a:gd name="connsiteY117" fmla="*/ 110625 h 419770"/>
                <a:gd name="connsiteX118" fmla="*/ 99926 w 404286"/>
                <a:gd name="connsiteY118" fmla="*/ 112147 h 419770"/>
                <a:gd name="connsiteX119" fmla="*/ 95916 w 404286"/>
                <a:gd name="connsiteY119" fmla="*/ 114326 h 419770"/>
                <a:gd name="connsiteX120" fmla="*/ 36213 w 404286"/>
                <a:gd name="connsiteY120" fmla="*/ 85853 h 419770"/>
                <a:gd name="connsiteX121" fmla="*/ 34692 w 404286"/>
                <a:gd name="connsiteY121" fmla="*/ 81546 h 419770"/>
                <a:gd name="connsiteX122" fmla="*/ 38998 w 404286"/>
                <a:gd name="connsiteY122" fmla="*/ 80024 h 419770"/>
                <a:gd name="connsiteX123" fmla="*/ 161808 w 404286"/>
                <a:gd name="connsiteY123" fmla="*/ 21904 h 419770"/>
                <a:gd name="connsiteX124" fmla="*/ 141916 w 404286"/>
                <a:gd name="connsiteY124" fmla="*/ 27321 h 419770"/>
                <a:gd name="connsiteX125" fmla="*/ 123351 w 404286"/>
                <a:gd name="connsiteY125" fmla="*/ 22665 h 419770"/>
                <a:gd name="connsiteX126" fmla="*/ 86042 w 404286"/>
                <a:gd name="connsiteY126" fmla="*/ 42602 h 419770"/>
                <a:gd name="connsiteX127" fmla="*/ 91611 w 404286"/>
                <a:gd name="connsiteY127" fmla="*/ 54904 h 419770"/>
                <a:gd name="connsiteX128" fmla="*/ 77275 w 404286"/>
                <a:gd name="connsiteY128" fmla="*/ 72958 h 419770"/>
                <a:gd name="connsiteX129" fmla="*/ 114958 w 404286"/>
                <a:gd name="connsiteY129" fmla="*/ 90921 h 419770"/>
                <a:gd name="connsiteX130" fmla="*/ 204352 w 404286"/>
                <a:gd name="connsiteY130" fmla="*/ 41996 h 419770"/>
                <a:gd name="connsiteX131" fmla="*/ 148529 w 404286"/>
                <a:gd name="connsiteY131" fmla="*/ 1413 h 419770"/>
                <a:gd name="connsiteX132" fmla="*/ 386491 w 404286"/>
                <a:gd name="connsiteY132" fmla="*/ 113605 h 419770"/>
                <a:gd name="connsiteX133" fmla="*/ 386542 w 404286"/>
                <a:gd name="connsiteY133" fmla="*/ 113579 h 419770"/>
                <a:gd name="connsiteX134" fmla="*/ 389496 w 404286"/>
                <a:gd name="connsiteY134" fmla="*/ 116356 h 419770"/>
                <a:gd name="connsiteX135" fmla="*/ 386903 w 404286"/>
                <a:gd name="connsiteY135" fmla="*/ 125327 h 419770"/>
                <a:gd name="connsiteX136" fmla="*/ 286629 w 404286"/>
                <a:gd name="connsiteY136" fmla="*/ 180184 h 419770"/>
                <a:gd name="connsiteX137" fmla="*/ 273028 w 404286"/>
                <a:gd name="connsiteY137" fmla="*/ 180558 h 419770"/>
                <a:gd name="connsiteX138" fmla="*/ 232341 w 404286"/>
                <a:gd name="connsiteY138" fmla="*/ 161150 h 419770"/>
                <a:gd name="connsiteX139" fmla="*/ 237497 w 404286"/>
                <a:gd name="connsiteY139" fmla="*/ 149351 h 419770"/>
                <a:gd name="connsiteX140" fmla="*/ 254863 w 404286"/>
                <a:gd name="connsiteY140" fmla="*/ 157630 h 419770"/>
                <a:gd name="connsiteX141" fmla="*/ 280866 w 404286"/>
                <a:gd name="connsiteY141" fmla="*/ 146733 h 419770"/>
                <a:gd name="connsiteX142" fmla="*/ 304923 w 404286"/>
                <a:gd name="connsiteY142" fmla="*/ 155463 h 419770"/>
                <a:gd name="connsiteX143" fmla="*/ 346177 w 404286"/>
                <a:gd name="connsiteY143" fmla="*/ 132883 h 419770"/>
                <a:gd name="connsiteX144" fmla="*/ 338442 w 404286"/>
                <a:gd name="connsiteY144" fmla="*/ 118698 h 419770"/>
                <a:gd name="connsiteX145" fmla="*/ 343057 w 404286"/>
                <a:gd name="connsiteY145" fmla="*/ 107402 h 419770"/>
                <a:gd name="connsiteX146" fmla="*/ 298232 w 404286"/>
                <a:gd name="connsiteY146" fmla="*/ 86202 h 419770"/>
                <a:gd name="connsiteX147" fmla="*/ 229027 w 404286"/>
                <a:gd name="connsiteY147" fmla="*/ 124063 h 419770"/>
                <a:gd name="connsiteX148" fmla="*/ 212345 w 404286"/>
                <a:gd name="connsiteY148" fmla="*/ 112134 h 419770"/>
                <a:gd name="connsiteX149" fmla="*/ 156161 w 404286"/>
                <a:gd name="connsiteY149" fmla="*/ 100374 h 419770"/>
                <a:gd name="connsiteX150" fmla="*/ 116299 w 404286"/>
                <a:gd name="connsiteY150" fmla="*/ 105803 h 419770"/>
                <a:gd name="connsiteX151" fmla="*/ 35079 w 404286"/>
                <a:gd name="connsiteY151" fmla="*/ 67116 h 419770"/>
                <a:gd name="connsiteX152" fmla="*/ 32103 w 404286"/>
                <a:gd name="connsiteY152" fmla="*/ 64273 h 419770"/>
                <a:gd name="connsiteX153" fmla="*/ 34809 w 404286"/>
                <a:gd name="connsiteY153" fmla="*/ 55355 h 419770"/>
                <a:gd name="connsiteX154" fmla="*/ 135122 w 404286"/>
                <a:gd name="connsiteY154" fmla="*/ 1749 h 419770"/>
                <a:gd name="connsiteX155" fmla="*/ 148529 w 404286"/>
                <a:gd name="connsiteY155" fmla="*/ 1413 h 419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</a:cxnLst>
              <a:rect l="l" t="t" r="r" b="b"/>
              <a:pathLst>
                <a:path w="404286" h="419770">
                  <a:moveTo>
                    <a:pt x="0" y="300332"/>
                  </a:moveTo>
                  <a:lnTo>
                    <a:pt x="59690" y="300332"/>
                  </a:lnTo>
                  <a:cubicBezTo>
                    <a:pt x="63403" y="300360"/>
                    <a:pt x="66400" y="303375"/>
                    <a:pt x="66407" y="307089"/>
                  </a:cubicBezTo>
                  <a:lnTo>
                    <a:pt x="66407" y="373591"/>
                  </a:lnTo>
                  <a:cubicBezTo>
                    <a:pt x="39561" y="353900"/>
                    <a:pt x="16972" y="328981"/>
                    <a:pt x="0" y="300332"/>
                  </a:cubicBezTo>
                  <a:close/>
                  <a:moveTo>
                    <a:pt x="118588" y="299163"/>
                  </a:moveTo>
                  <a:cubicBezTo>
                    <a:pt x="129893" y="298839"/>
                    <a:pt x="141249" y="300299"/>
                    <a:pt x="152229" y="303556"/>
                  </a:cubicBezTo>
                  <a:cubicBezTo>
                    <a:pt x="163757" y="306980"/>
                    <a:pt x="175720" y="308717"/>
                    <a:pt x="187746" y="308714"/>
                  </a:cubicBezTo>
                  <a:cubicBezTo>
                    <a:pt x="189770" y="308714"/>
                    <a:pt x="191678" y="308662"/>
                    <a:pt x="193638" y="308572"/>
                  </a:cubicBezTo>
                  <a:lnTo>
                    <a:pt x="265163" y="305065"/>
                  </a:lnTo>
                  <a:lnTo>
                    <a:pt x="266065" y="305065"/>
                  </a:lnTo>
                  <a:cubicBezTo>
                    <a:pt x="275730" y="305050"/>
                    <a:pt x="283842" y="312345"/>
                    <a:pt x="284851" y="321960"/>
                  </a:cubicBezTo>
                  <a:cubicBezTo>
                    <a:pt x="285940" y="332323"/>
                    <a:pt x="278424" y="341605"/>
                    <a:pt x="268063" y="342694"/>
                  </a:cubicBezTo>
                  <a:lnTo>
                    <a:pt x="192619" y="350792"/>
                  </a:lnTo>
                  <a:cubicBezTo>
                    <a:pt x="189003" y="351180"/>
                    <a:pt x="186262" y="354234"/>
                    <a:pt x="186263" y="357872"/>
                  </a:cubicBezTo>
                  <a:cubicBezTo>
                    <a:pt x="186257" y="357984"/>
                    <a:pt x="186257" y="358095"/>
                    <a:pt x="186263" y="358207"/>
                  </a:cubicBezTo>
                  <a:cubicBezTo>
                    <a:pt x="186443" y="362002"/>
                    <a:pt x="189569" y="364987"/>
                    <a:pt x="193367" y="364990"/>
                  </a:cubicBezTo>
                  <a:lnTo>
                    <a:pt x="194076" y="364990"/>
                  </a:lnTo>
                  <a:lnTo>
                    <a:pt x="259593" y="358542"/>
                  </a:lnTo>
                  <a:cubicBezTo>
                    <a:pt x="274689" y="357058"/>
                    <a:pt x="289308" y="352432"/>
                    <a:pt x="302511" y="344963"/>
                  </a:cubicBezTo>
                  <a:lnTo>
                    <a:pt x="373301" y="304987"/>
                  </a:lnTo>
                  <a:cubicBezTo>
                    <a:pt x="383200" y="299370"/>
                    <a:pt x="395776" y="302796"/>
                    <a:pt x="401457" y="312660"/>
                  </a:cubicBezTo>
                  <a:cubicBezTo>
                    <a:pt x="403907" y="316843"/>
                    <a:pt x="404807" y="321755"/>
                    <a:pt x="403997" y="326536"/>
                  </a:cubicBezTo>
                  <a:cubicBezTo>
                    <a:pt x="399424" y="332433"/>
                    <a:pt x="394603" y="338103"/>
                    <a:pt x="389532" y="343545"/>
                  </a:cubicBezTo>
                  <a:lnTo>
                    <a:pt x="282670" y="405753"/>
                  </a:lnTo>
                  <a:cubicBezTo>
                    <a:pt x="266894" y="414933"/>
                    <a:pt x="248968" y="419770"/>
                    <a:pt x="230715" y="419770"/>
                  </a:cubicBezTo>
                  <a:cubicBezTo>
                    <a:pt x="229026" y="419770"/>
                    <a:pt x="227338" y="419732"/>
                    <a:pt x="225649" y="419641"/>
                  </a:cubicBezTo>
                  <a:lnTo>
                    <a:pt x="162478" y="416533"/>
                  </a:lnTo>
                  <a:cubicBezTo>
                    <a:pt x="131832" y="410380"/>
                    <a:pt x="102664" y="398360"/>
                    <a:pt x="76578" y="381135"/>
                  </a:cubicBezTo>
                  <a:lnTo>
                    <a:pt x="76578" y="308572"/>
                  </a:lnTo>
                  <a:lnTo>
                    <a:pt x="85254" y="305477"/>
                  </a:lnTo>
                  <a:cubicBezTo>
                    <a:pt x="96029" y="301596"/>
                    <a:pt x="107283" y="299487"/>
                    <a:pt x="118588" y="299163"/>
                  </a:cubicBezTo>
                  <a:close/>
                  <a:moveTo>
                    <a:pt x="349271" y="288738"/>
                  </a:moveTo>
                  <a:cubicBezTo>
                    <a:pt x="356368" y="288723"/>
                    <a:pt x="362979" y="292344"/>
                    <a:pt x="366791" y="298332"/>
                  </a:cubicBezTo>
                  <a:lnTo>
                    <a:pt x="297522" y="337522"/>
                  </a:lnTo>
                  <a:lnTo>
                    <a:pt x="297445" y="337522"/>
                  </a:lnTo>
                  <a:cubicBezTo>
                    <a:pt x="297053" y="337749"/>
                    <a:pt x="296608" y="337869"/>
                    <a:pt x="296155" y="337870"/>
                  </a:cubicBezTo>
                  <a:cubicBezTo>
                    <a:pt x="295874" y="337869"/>
                    <a:pt x="295595" y="337825"/>
                    <a:pt x="295326" y="337737"/>
                  </a:cubicBezTo>
                  <a:cubicBezTo>
                    <a:pt x="293898" y="337274"/>
                    <a:pt x="293114" y="335741"/>
                    <a:pt x="293577" y="334311"/>
                  </a:cubicBezTo>
                  <a:lnTo>
                    <a:pt x="293886" y="333331"/>
                  </a:lnTo>
                  <a:cubicBezTo>
                    <a:pt x="295636" y="327249"/>
                    <a:pt x="295360" y="320763"/>
                    <a:pt x="293100" y="314851"/>
                  </a:cubicBezTo>
                  <a:lnTo>
                    <a:pt x="335205" y="293380"/>
                  </a:lnTo>
                  <a:lnTo>
                    <a:pt x="339679" y="291098"/>
                  </a:lnTo>
                  <a:cubicBezTo>
                    <a:pt x="342639" y="289549"/>
                    <a:pt x="345930" y="288739"/>
                    <a:pt x="349271" y="288738"/>
                  </a:cubicBezTo>
                  <a:close/>
                  <a:moveTo>
                    <a:pt x="321483" y="278103"/>
                  </a:moveTo>
                  <a:cubicBezTo>
                    <a:pt x="325990" y="279396"/>
                    <a:pt x="330060" y="282212"/>
                    <a:pt x="332872" y="286314"/>
                  </a:cubicBezTo>
                  <a:lnTo>
                    <a:pt x="290883" y="307721"/>
                  </a:lnTo>
                  <a:cubicBezTo>
                    <a:pt x="286899" y="301056"/>
                    <a:pt x="280389" y="296287"/>
                    <a:pt x="272834" y="294503"/>
                  </a:cubicBezTo>
                  <a:lnTo>
                    <a:pt x="307475" y="279028"/>
                  </a:lnTo>
                  <a:cubicBezTo>
                    <a:pt x="312034" y="277040"/>
                    <a:pt x="316977" y="276810"/>
                    <a:pt x="321483" y="278103"/>
                  </a:cubicBezTo>
                  <a:close/>
                  <a:moveTo>
                    <a:pt x="80730" y="199102"/>
                  </a:moveTo>
                  <a:cubicBezTo>
                    <a:pt x="85139" y="204879"/>
                    <a:pt x="91895" y="210063"/>
                    <a:pt x="100610" y="214332"/>
                  </a:cubicBezTo>
                  <a:cubicBezTo>
                    <a:pt x="115564" y="221695"/>
                    <a:pt x="135276" y="225757"/>
                    <a:pt x="156045" y="225757"/>
                  </a:cubicBezTo>
                  <a:cubicBezTo>
                    <a:pt x="176814" y="225757"/>
                    <a:pt x="196526" y="221695"/>
                    <a:pt x="211558" y="214332"/>
                  </a:cubicBezTo>
                  <a:cubicBezTo>
                    <a:pt x="220261" y="210063"/>
                    <a:pt x="226964" y="204879"/>
                    <a:pt x="231425" y="199102"/>
                  </a:cubicBezTo>
                  <a:lnTo>
                    <a:pt x="231425" y="219735"/>
                  </a:lnTo>
                  <a:cubicBezTo>
                    <a:pt x="230432" y="240174"/>
                    <a:pt x="197106" y="256603"/>
                    <a:pt x="156097" y="256603"/>
                  </a:cubicBezTo>
                  <a:cubicBezTo>
                    <a:pt x="115100" y="256603"/>
                    <a:pt x="81761" y="240226"/>
                    <a:pt x="80730" y="219735"/>
                  </a:cubicBezTo>
                  <a:close/>
                  <a:moveTo>
                    <a:pt x="380920" y="170957"/>
                  </a:moveTo>
                  <a:cubicBezTo>
                    <a:pt x="384047" y="169256"/>
                    <a:pt x="387961" y="170414"/>
                    <a:pt x="389662" y="173543"/>
                  </a:cubicBezTo>
                  <a:cubicBezTo>
                    <a:pt x="391365" y="176666"/>
                    <a:pt x="390216" y="180578"/>
                    <a:pt x="387096" y="182286"/>
                  </a:cubicBezTo>
                  <a:lnTo>
                    <a:pt x="286538" y="237272"/>
                  </a:lnTo>
                  <a:cubicBezTo>
                    <a:pt x="282328" y="239574"/>
                    <a:pt x="277268" y="239713"/>
                    <a:pt x="272937" y="237646"/>
                  </a:cubicBezTo>
                  <a:lnTo>
                    <a:pt x="237871" y="220882"/>
                  </a:lnTo>
                  <a:lnTo>
                    <a:pt x="237871" y="206697"/>
                  </a:lnTo>
                  <a:lnTo>
                    <a:pt x="278558" y="226040"/>
                  </a:lnTo>
                  <a:cubicBezTo>
                    <a:pt x="279141" y="226337"/>
                    <a:pt x="279832" y="226337"/>
                    <a:pt x="280415" y="226040"/>
                  </a:cubicBezTo>
                  <a:lnTo>
                    <a:pt x="380908" y="170964"/>
                  </a:lnTo>
                  <a:cubicBezTo>
                    <a:pt x="380912" y="170961"/>
                    <a:pt x="380916" y="170960"/>
                    <a:pt x="380920" y="170957"/>
                  </a:cubicBezTo>
                  <a:close/>
                  <a:moveTo>
                    <a:pt x="80730" y="162259"/>
                  </a:moveTo>
                  <a:cubicBezTo>
                    <a:pt x="85075" y="167869"/>
                    <a:pt x="91534" y="172924"/>
                    <a:pt x="99926" y="177140"/>
                  </a:cubicBezTo>
                  <a:cubicBezTo>
                    <a:pt x="115023" y="184775"/>
                    <a:pt x="134928" y="188901"/>
                    <a:pt x="156045" y="188901"/>
                  </a:cubicBezTo>
                  <a:cubicBezTo>
                    <a:pt x="177162" y="188901"/>
                    <a:pt x="197119" y="184723"/>
                    <a:pt x="212229" y="177140"/>
                  </a:cubicBezTo>
                  <a:cubicBezTo>
                    <a:pt x="220634" y="172924"/>
                    <a:pt x="227080" y="167869"/>
                    <a:pt x="231425" y="162259"/>
                  </a:cubicBezTo>
                  <a:lnTo>
                    <a:pt x="231425" y="182453"/>
                  </a:lnTo>
                  <a:cubicBezTo>
                    <a:pt x="230432" y="202893"/>
                    <a:pt x="197106" y="219322"/>
                    <a:pt x="156097" y="219322"/>
                  </a:cubicBezTo>
                  <a:cubicBezTo>
                    <a:pt x="115100" y="219322"/>
                    <a:pt x="81761" y="202893"/>
                    <a:pt x="80730" y="182453"/>
                  </a:cubicBezTo>
                  <a:close/>
                  <a:moveTo>
                    <a:pt x="382476" y="154175"/>
                  </a:moveTo>
                  <a:cubicBezTo>
                    <a:pt x="384036" y="153333"/>
                    <a:pt x="385984" y="153915"/>
                    <a:pt x="386826" y="155476"/>
                  </a:cubicBezTo>
                  <a:cubicBezTo>
                    <a:pt x="386830" y="155482"/>
                    <a:pt x="386833" y="155490"/>
                    <a:pt x="386837" y="155496"/>
                  </a:cubicBezTo>
                  <a:cubicBezTo>
                    <a:pt x="387679" y="157057"/>
                    <a:pt x="387096" y="159005"/>
                    <a:pt x="385536" y="159847"/>
                  </a:cubicBezTo>
                  <a:lnTo>
                    <a:pt x="284979" y="214834"/>
                  </a:lnTo>
                  <a:cubicBezTo>
                    <a:pt x="281677" y="216633"/>
                    <a:pt x="277714" y="216742"/>
                    <a:pt x="274317" y="215130"/>
                  </a:cubicBezTo>
                  <a:lnTo>
                    <a:pt x="237871" y="197747"/>
                  </a:lnTo>
                  <a:lnTo>
                    <a:pt x="237871" y="190603"/>
                  </a:lnTo>
                  <a:lnTo>
                    <a:pt x="277101" y="209315"/>
                  </a:lnTo>
                  <a:cubicBezTo>
                    <a:pt x="278630" y="210038"/>
                    <a:pt x="280413" y="209985"/>
                    <a:pt x="281897" y="209173"/>
                  </a:cubicBezTo>
                  <a:lnTo>
                    <a:pt x="382455" y="154186"/>
                  </a:lnTo>
                  <a:cubicBezTo>
                    <a:pt x="382462" y="154182"/>
                    <a:pt x="382469" y="154179"/>
                    <a:pt x="382476" y="154175"/>
                  </a:cubicBezTo>
                  <a:close/>
                  <a:moveTo>
                    <a:pt x="382455" y="138506"/>
                  </a:moveTo>
                  <a:cubicBezTo>
                    <a:pt x="384018" y="137655"/>
                    <a:pt x="385975" y="138232"/>
                    <a:pt x="386826" y="139795"/>
                  </a:cubicBezTo>
                  <a:cubicBezTo>
                    <a:pt x="386830" y="139802"/>
                    <a:pt x="386833" y="139810"/>
                    <a:pt x="386837" y="139816"/>
                  </a:cubicBezTo>
                  <a:cubicBezTo>
                    <a:pt x="387679" y="141376"/>
                    <a:pt x="387096" y="143325"/>
                    <a:pt x="385536" y="144167"/>
                  </a:cubicBezTo>
                  <a:lnTo>
                    <a:pt x="284979" y="199153"/>
                  </a:lnTo>
                  <a:cubicBezTo>
                    <a:pt x="281677" y="200952"/>
                    <a:pt x="277714" y="201062"/>
                    <a:pt x="274317" y="199450"/>
                  </a:cubicBezTo>
                  <a:lnTo>
                    <a:pt x="237871" y="182067"/>
                  </a:lnTo>
                  <a:lnTo>
                    <a:pt x="237871" y="174923"/>
                  </a:lnTo>
                  <a:lnTo>
                    <a:pt x="277101" y="193634"/>
                  </a:lnTo>
                  <a:cubicBezTo>
                    <a:pt x="278630" y="194355"/>
                    <a:pt x="280410" y="194307"/>
                    <a:pt x="281897" y="193505"/>
                  </a:cubicBezTo>
                  <a:close/>
                  <a:moveTo>
                    <a:pt x="40365" y="112470"/>
                  </a:moveTo>
                  <a:lnTo>
                    <a:pt x="78319" y="130523"/>
                  </a:lnTo>
                  <a:cubicBezTo>
                    <a:pt x="76023" y="134281"/>
                    <a:pt x="74660" y="138535"/>
                    <a:pt x="74348" y="142929"/>
                  </a:cubicBezTo>
                  <a:lnTo>
                    <a:pt x="34821" y="124076"/>
                  </a:lnTo>
                  <a:cubicBezTo>
                    <a:pt x="32035" y="122491"/>
                    <a:pt x="30836" y="119098"/>
                    <a:pt x="32008" y="116114"/>
                  </a:cubicBezTo>
                  <a:cubicBezTo>
                    <a:pt x="33310" y="112800"/>
                    <a:pt x="37051" y="111169"/>
                    <a:pt x="40365" y="112470"/>
                  </a:cubicBezTo>
                  <a:close/>
                  <a:moveTo>
                    <a:pt x="156097" y="106834"/>
                  </a:moveTo>
                  <a:cubicBezTo>
                    <a:pt x="197728" y="106834"/>
                    <a:pt x="231477" y="123762"/>
                    <a:pt x="231477" y="144644"/>
                  </a:cubicBezTo>
                  <a:cubicBezTo>
                    <a:pt x="231477" y="165525"/>
                    <a:pt x="197728" y="182453"/>
                    <a:pt x="156097" y="182453"/>
                  </a:cubicBezTo>
                  <a:cubicBezTo>
                    <a:pt x="114466" y="182453"/>
                    <a:pt x="80717" y="165525"/>
                    <a:pt x="80717" y="144644"/>
                  </a:cubicBezTo>
                  <a:cubicBezTo>
                    <a:pt x="80717" y="123762"/>
                    <a:pt x="114466" y="106834"/>
                    <a:pt x="156097" y="106834"/>
                  </a:cubicBezTo>
                  <a:close/>
                  <a:moveTo>
                    <a:pt x="38985" y="95706"/>
                  </a:moveTo>
                  <a:lnTo>
                    <a:pt x="88465" y="119317"/>
                  </a:lnTo>
                  <a:cubicBezTo>
                    <a:pt x="86638" y="120754"/>
                    <a:pt x="84914" y="122318"/>
                    <a:pt x="83308" y="123998"/>
                  </a:cubicBezTo>
                  <a:lnTo>
                    <a:pt x="36200" y="101522"/>
                  </a:lnTo>
                  <a:cubicBezTo>
                    <a:pt x="34595" y="100753"/>
                    <a:pt x="33917" y="98826"/>
                    <a:pt x="34686" y="97221"/>
                  </a:cubicBezTo>
                  <a:cubicBezTo>
                    <a:pt x="35454" y="95615"/>
                    <a:pt x="37380" y="94937"/>
                    <a:pt x="38985" y="95706"/>
                  </a:cubicBezTo>
                  <a:close/>
                  <a:moveTo>
                    <a:pt x="38998" y="80024"/>
                  </a:moveTo>
                  <a:lnTo>
                    <a:pt x="103136" y="110625"/>
                  </a:lnTo>
                  <a:cubicBezTo>
                    <a:pt x="102040" y="111115"/>
                    <a:pt x="100970" y="111618"/>
                    <a:pt x="99926" y="112147"/>
                  </a:cubicBezTo>
                  <a:cubicBezTo>
                    <a:pt x="98508" y="112843"/>
                    <a:pt x="97193" y="113578"/>
                    <a:pt x="95916" y="114326"/>
                  </a:cubicBezTo>
                  <a:lnTo>
                    <a:pt x="36213" y="85853"/>
                  </a:lnTo>
                  <a:cubicBezTo>
                    <a:pt x="34604" y="85084"/>
                    <a:pt x="33924" y="83155"/>
                    <a:pt x="34692" y="81546"/>
                  </a:cubicBezTo>
                  <a:cubicBezTo>
                    <a:pt x="35460" y="79936"/>
                    <a:pt x="37389" y="79256"/>
                    <a:pt x="38998" y="80024"/>
                  </a:cubicBezTo>
                  <a:close/>
                  <a:moveTo>
                    <a:pt x="161808" y="21904"/>
                  </a:moveTo>
                  <a:cubicBezTo>
                    <a:pt x="155821" y="25550"/>
                    <a:pt x="148924" y="27428"/>
                    <a:pt x="141916" y="27321"/>
                  </a:cubicBezTo>
                  <a:cubicBezTo>
                    <a:pt x="135430" y="27393"/>
                    <a:pt x="129035" y="25790"/>
                    <a:pt x="123351" y="22665"/>
                  </a:cubicBezTo>
                  <a:lnTo>
                    <a:pt x="86042" y="42602"/>
                  </a:lnTo>
                  <a:cubicBezTo>
                    <a:pt x="89484" y="45782"/>
                    <a:pt x="91492" y="50219"/>
                    <a:pt x="91611" y="54904"/>
                  </a:cubicBezTo>
                  <a:cubicBezTo>
                    <a:pt x="91611" y="62551"/>
                    <a:pt x="85861" y="69244"/>
                    <a:pt x="77275" y="72958"/>
                  </a:cubicBezTo>
                  <a:lnTo>
                    <a:pt x="114958" y="90921"/>
                  </a:lnTo>
                  <a:lnTo>
                    <a:pt x="204352" y="41996"/>
                  </a:lnTo>
                  <a:close/>
                  <a:moveTo>
                    <a:pt x="148529" y="1413"/>
                  </a:moveTo>
                  <a:lnTo>
                    <a:pt x="386491" y="113605"/>
                  </a:lnTo>
                  <a:lnTo>
                    <a:pt x="386542" y="113579"/>
                  </a:lnTo>
                  <a:cubicBezTo>
                    <a:pt x="387794" y="114172"/>
                    <a:pt x="388827" y="115143"/>
                    <a:pt x="389496" y="116356"/>
                  </a:cubicBezTo>
                  <a:cubicBezTo>
                    <a:pt x="391256" y="119549"/>
                    <a:pt x="390095" y="123565"/>
                    <a:pt x="386903" y="125327"/>
                  </a:cubicBezTo>
                  <a:lnTo>
                    <a:pt x="286629" y="180184"/>
                  </a:lnTo>
                  <a:cubicBezTo>
                    <a:pt x="282418" y="182486"/>
                    <a:pt x="277358" y="182625"/>
                    <a:pt x="273028" y="180558"/>
                  </a:cubicBezTo>
                  <a:lnTo>
                    <a:pt x="232341" y="161150"/>
                  </a:lnTo>
                  <a:cubicBezTo>
                    <a:pt x="234919" y="157652"/>
                    <a:pt x="236681" y="153619"/>
                    <a:pt x="237497" y="149351"/>
                  </a:cubicBezTo>
                  <a:lnTo>
                    <a:pt x="254863" y="157630"/>
                  </a:lnTo>
                  <a:cubicBezTo>
                    <a:pt x="259942" y="151130"/>
                    <a:pt x="269676" y="146733"/>
                    <a:pt x="280866" y="146733"/>
                  </a:cubicBezTo>
                  <a:cubicBezTo>
                    <a:pt x="290741" y="146733"/>
                    <a:pt x="299508" y="150176"/>
                    <a:pt x="304923" y="155463"/>
                  </a:cubicBezTo>
                  <a:lnTo>
                    <a:pt x="346177" y="132883"/>
                  </a:lnTo>
                  <a:cubicBezTo>
                    <a:pt x="341381" y="129157"/>
                    <a:pt x="338442" y="124179"/>
                    <a:pt x="338442" y="118698"/>
                  </a:cubicBezTo>
                  <a:cubicBezTo>
                    <a:pt x="338514" y="114488"/>
                    <a:pt x="340162" y="110458"/>
                    <a:pt x="343057" y="107402"/>
                  </a:cubicBezTo>
                  <a:lnTo>
                    <a:pt x="298232" y="86202"/>
                  </a:lnTo>
                  <a:lnTo>
                    <a:pt x="229027" y="124063"/>
                  </a:lnTo>
                  <a:cubicBezTo>
                    <a:pt x="224203" y="119146"/>
                    <a:pt x="218558" y="115109"/>
                    <a:pt x="212345" y="112134"/>
                  </a:cubicBezTo>
                  <a:cubicBezTo>
                    <a:pt x="197235" y="104552"/>
                    <a:pt x="177279" y="100374"/>
                    <a:pt x="156161" y="100374"/>
                  </a:cubicBezTo>
                  <a:cubicBezTo>
                    <a:pt x="142684" y="100292"/>
                    <a:pt x="129263" y="102120"/>
                    <a:pt x="116299" y="105803"/>
                  </a:cubicBezTo>
                  <a:lnTo>
                    <a:pt x="35079" y="67116"/>
                  </a:lnTo>
                  <a:cubicBezTo>
                    <a:pt x="33810" y="66510"/>
                    <a:pt x="32767" y="65515"/>
                    <a:pt x="32103" y="64273"/>
                  </a:cubicBezTo>
                  <a:cubicBezTo>
                    <a:pt x="30388" y="61063"/>
                    <a:pt x="31600" y="57071"/>
                    <a:pt x="34809" y="55355"/>
                  </a:cubicBezTo>
                  <a:lnTo>
                    <a:pt x="135122" y="1749"/>
                  </a:lnTo>
                  <a:cubicBezTo>
                    <a:pt x="139291" y="-460"/>
                    <a:pt x="144254" y="-584"/>
                    <a:pt x="148529" y="1413"/>
                  </a:cubicBezTo>
                  <a:close/>
                </a:path>
              </a:pathLst>
            </a:custGeom>
            <a:solidFill>
              <a:srgbClr val="025EA1"/>
            </a:solidFill>
            <a:ln w="12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42BFFFBF-01C7-EB3F-05BB-DF04BBDBA166}"/>
              </a:ext>
            </a:extLst>
          </p:cNvPr>
          <p:cNvSpPr txBox="1"/>
          <p:nvPr/>
        </p:nvSpPr>
        <p:spPr>
          <a:xfrm>
            <a:off x="1389111" y="728742"/>
            <a:ext cx="27630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48"/>
            <a:r>
              <a:rPr lang="ru-RU" b="1" dirty="0">
                <a:gradFill flip="none" rotWithShape="1">
                  <a:gsLst>
                    <a:gs pos="0">
                      <a:schemeClr val="accent3"/>
                    </a:gs>
                    <a:gs pos="97000">
                      <a:schemeClr val="accent1"/>
                    </a:gs>
                  </a:gsLst>
                  <a:lin ang="5400000" scaled="1"/>
                  <a:tileRect/>
                </a:gradFill>
                <a:latin typeface="Arial" panose="020B0604020202020204" pitchFamily="34" charset="0"/>
                <a:cs typeface="Arial" panose="020B0604020202020204" pitchFamily="34" charset="0"/>
              </a:rPr>
              <a:t>Стоимость контракта 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DAC41FC-80C7-AE4B-B224-FA888D3DD26A}"/>
              </a:ext>
            </a:extLst>
          </p:cNvPr>
          <p:cNvSpPr txBox="1"/>
          <p:nvPr/>
        </p:nvSpPr>
        <p:spPr>
          <a:xfrm>
            <a:off x="1394904" y="1012590"/>
            <a:ext cx="24434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48"/>
            <a:r>
              <a:rPr lang="ru-RU" b="1" dirty="0">
                <a:gradFill flip="none" rotWithShape="1">
                  <a:gsLst>
                    <a:gs pos="0">
                      <a:schemeClr val="accent3"/>
                    </a:gs>
                    <a:gs pos="97000">
                      <a:schemeClr val="accent1"/>
                    </a:gs>
                  </a:gsLst>
                  <a:lin ang="5400000" scaled="1"/>
                  <a:tileRect/>
                </a:gradFill>
                <a:latin typeface="Arial" panose="020B0604020202020204" pitchFamily="34" charset="0"/>
                <a:cs typeface="Arial" panose="020B0604020202020204" pitchFamily="34" charset="0"/>
              </a:rPr>
              <a:t>84 000,00 тыс. руб.  </a:t>
            </a: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5C4631B5-BE3A-5B5B-0137-3173E15AE4A8}"/>
              </a:ext>
            </a:extLst>
          </p:cNvPr>
          <p:cNvGrpSpPr/>
          <p:nvPr/>
        </p:nvGrpSpPr>
        <p:grpSpPr>
          <a:xfrm>
            <a:off x="4254607" y="728742"/>
            <a:ext cx="532620" cy="532645"/>
            <a:chOff x="1048865" y="3071478"/>
            <a:chExt cx="719999" cy="720000"/>
          </a:xfrm>
        </p:grpSpPr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id="{97F234AE-9B53-2575-2E1D-A550882C20D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/>
            <a:stretch/>
          </p:blipFill>
          <p:spPr>
            <a:xfrm>
              <a:off x="1048865" y="3071478"/>
              <a:ext cx="719999" cy="720000"/>
            </a:xfrm>
            <a:prstGeom prst="rect">
              <a:avLst/>
            </a:prstGeom>
          </p:spPr>
        </p:pic>
        <p:sp>
          <p:nvSpPr>
            <p:cNvPr id="9" name="Полилиния 107">
              <a:extLst>
                <a:ext uri="{FF2B5EF4-FFF2-40B4-BE49-F238E27FC236}">
                  <a16:creationId xmlns:a16="http://schemas.microsoft.com/office/drawing/2014/main" id="{586F2C42-37EE-9F76-B1A0-9C6AE734DFEB}"/>
                </a:ext>
              </a:extLst>
            </p:cNvPr>
            <p:cNvSpPr/>
            <p:nvPr/>
          </p:nvSpPr>
          <p:spPr>
            <a:xfrm>
              <a:off x="1236244" y="3251469"/>
              <a:ext cx="347818" cy="352654"/>
            </a:xfrm>
            <a:custGeom>
              <a:avLst/>
              <a:gdLst>
                <a:gd name="connsiteX0" fmla="*/ 154566 w 347818"/>
                <a:gd name="connsiteY0" fmla="*/ 146893 h 352654"/>
                <a:gd name="connsiteX1" fmla="*/ 154566 w 347818"/>
                <a:gd name="connsiteY1" fmla="*/ 185580 h 352654"/>
                <a:gd name="connsiteX2" fmla="*/ 115879 w 347818"/>
                <a:gd name="connsiteY2" fmla="*/ 185580 h 352654"/>
                <a:gd name="connsiteX3" fmla="*/ 115879 w 347818"/>
                <a:gd name="connsiteY3" fmla="*/ 224266 h 352654"/>
                <a:gd name="connsiteX4" fmla="*/ 154566 w 347818"/>
                <a:gd name="connsiteY4" fmla="*/ 224266 h 352654"/>
                <a:gd name="connsiteX5" fmla="*/ 154566 w 347818"/>
                <a:gd name="connsiteY5" fmla="*/ 262953 h 352654"/>
                <a:gd name="connsiteX6" fmla="*/ 193252 w 347818"/>
                <a:gd name="connsiteY6" fmla="*/ 262953 h 352654"/>
                <a:gd name="connsiteX7" fmla="*/ 193252 w 347818"/>
                <a:gd name="connsiteY7" fmla="*/ 224266 h 352654"/>
                <a:gd name="connsiteX8" fmla="*/ 231939 w 347818"/>
                <a:gd name="connsiteY8" fmla="*/ 224266 h 352654"/>
                <a:gd name="connsiteX9" fmla="*/ 231939 w 347818"/>
                <a:gd name="connsiteY9" fmla="*/ 185580 h 352654"/>
                <a:gd name="connsiteX10" fmla="*/ 193252 w 347818"/>
                <a:gd name="connsiteY10" fmla="*/ 185580 h 352654"/>
                <a:gd name="connsiteX11" fmla="*/ 193252 w 347818"/>
                <a:gd name="connsiteY11" fmla="*/ 146893 h 352654"/>
                <a:gd name="connsiteX12" fmla="*/ 28577 w 347818"/>
                <a:gd name="connsiteY12" fmla="*/ 75336 h 352654"/>
                <a:gd name="connsiteX13" fmla="*/ 319242 w 347818"/>
                <a:gd name="connsiteY13" fmla="*/ 75336 h 352654"/>
                <a:gd name="connsiteX14" fmla="*/ 328913 w 347818"/>
                <a:gd name="connsiteY14" fmla="*/ 85008 h 352654"/>
                <a:gd name="connsiteX15" fmla="*/ 328913 w 347818"/>
                <a:gd name="connsiteY15" fmla="*/ 324864 h 352654"/>
                <a:gd name="connsiteX16" fmla="*/ 319242 w 347818"/>
                <a:gd name="connsiteY16" fmla="*/ 334536 h 352654"/>
                <a:gd name="connsiteX17" fmla="*/ 28577 w 347818"/>
                <a:gd name="connsiteY17" fmla="*/ 334536 h 352654"/>
                <a:gd name="connsiteX18" fmla="*/ 18905 w 347818"/>
                <a:gd name="connsiteY18" fmla="*/ 324864 h 352654"/>
                <a:gd name="connsiteX19" fmla="*/ 18905 w 347818"/>
                <a:gd name="connsiteY19" fmla="*/ 85008 h 352654"/>
                <a:gd name="connsiteX20" fmla="*/ 28577 w 347818"/>
                <a:gd name="connsiteY20" fmla="*/ 75336 h 352654"/>
                <a:gd name="connsiteX21" fmla="*/ 28576 w 347818"/>
                <a:gd name="connsiteY21" fmla="*/ 68862 h 352654"/>
                <a:gd name="connsiteX22" fmla="*/ 12457 w 347818"/>
                <a:gd name="connsiteY22" fmla="*/ 84982 h 352654"/>
                <a:gd name="connsiteX23" fmla="*/ 12457 w 347818"/>
                <a:gd name="connsiteY23" fmla="*/ 324839 h 352654"/>
                <a:gd name="connsiteX24" fmla="*/ 28576 w 347818"/>
                <a:gd name="connsiteY24" fmla="*/ 340958 h 352654"/>
                <a:gd name="connsiteX25" fmla="*/ 319242 w 347818"/>
                <a:gd name="connsiteY25" fmla="*/ 340958 h 352654"/>
                <a:gd name="connsiteX26" fmla="*/ 335361 w 347818"/>
                <a:gd name="connsiteY26" fmla="*/ 324839 h 352654"/>
                <a:gd name="connsiteX27" fmla="*/ 335361 w 347818"/>
                <a:gd name="connsiteY27" fmla="*/ 84982 h 352654"/>
                <a:gd name="connsiteX28" fmla="*/ 319242 w 347818"/>
                <a:gd name="connsiteY28" fmla="*/ 68862 h 352654"/>
                <a:gd name="connsiteX29" fmla="*/ 12896 w 347818"/>
                <a:gd name="connsiteY29" fmla="*/ 57192 h 352654"/>
                <a:gd name="connsiteX30" fmla="*/ 334922 w 347818"/>
                <a:gd name="connsiteY30" fmla="*/ 57192 h 352654"/>
                <a:gd name="connsiteX31" fmla="*/ 347818 w 347818"/>
                <a:gd name="connsiteY31" fmla="*/ 70088 h 352654"/>
                <a:gd name="connsiteX32" fmla="*/ 347818 w 347818"/>
                <a:gd name="connsiteY32" fmla="*/ 339759 h 352654"/>
                <a:gd name="connsiteX33" fmla="*/ 334922 w 347818"/>
                <a:gd name="connsiteY33" fmla="*/ 352654 h 352654"/>
                <a:gd name="connsiteX34" fmla="*/ 12896 w 347818"/>
                <a:gd name="connsiteY34" fmla="*/ 352654 h 352654"/>
                <a:gd name="connsiteX35" fmla="*/ 0 w 347818"/>
                <a:gd name="connsiteY35" fmla="*/ 339759 h 352654"/>
                <a:gd name="connsiteX36" fmla="*/ 0 w 347818"/>
                <a:gd name="connsiteY36" fmla="*/ 70088 h 352654"/>
                <a:gd name="connsiteX37" fmla="*/ 12896 w 347818"/>
                <a:gd name="connsiteY37" fmla="*/ 57192 h 352654"/>
                <a:gd name="connsiteX38" fmla="*/ 87290 w 347818"/>
                <a:gd name="connsiteY38" fmla="*/ 0 h 352654"/>
                <a:gd name="connsiteX39" fmla="*/ 257240 w 347818"/>
                <a:gd name="connsiteY39" fmla="*/ 0 h 352654"/>
                <a:gd name="connsiteX40" fmla="*/ 264978 w 347818"/>
                <a:gd name="connsiteY40" fmla="*/ 7737 h 352654"/>
                <a:gd name="connsiteX41" fmla="*/ 264978 w 347818"/>
                <a:gd name="connsiteY41" fmla="*/ 50409 h 352654"/>
                <a:gd name="connsiteX42" fmla="*/ 252082 w 347818"/>
                <a:gd name="connsiteY42" fmla="*/ 50409 h 352654"/>
                <a:gd name="connsiteX43" fmla="*/ 252082 w 347818"/>
                <a:gd name="connsiteY43" fmla="*/ 12896 h 352654"/>
                <a:gd name="connsiteX44" fmla="*/ 92449 w 347818"/>
                <a:gd name="connsiteY44" fmla="*/ 12896 h 352654"/>
                <a:gd name="connsiteX45" fmla="*/ 92449 w 347818"/>
                <a:gd name="connsiteY45" fmla="*/ 50409 h 352654"/>
                <a:gd name="connsiteX46" fmla="*/ 79553 w 347818"/>
                <a:gd name="connsiteY46" fmla="*/ 50409 h 352654"/>
                <a:gd name="connsiteX47" fmla="*/ 79553 w 347818"/>
                <a:gd name="connsiteY47" fmla="*/ 7737 h 352654"/>
                <a:gd name="connsiteX48" fmla="*/ 87290 w 347818"/>
                <a:gd name="connsiteY48" fmla="*/ 0 h 352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47818" h="352654">
                  <a:moveTo>
                    <a:pt x="154566" y="146893"/>
                  </a:moveTo>
                  <a:lnTo>
                    <a:pt x="154566" y="185580"/>
                  </a:lnTo>
                  <a:lnTo>
                    <a:pt x="115879" y="185580"/>
                  </a:lnTo>
                  <a:lnTo>
                    <a:pt x="115879" y="224266"/>
                  </a:lnTo>
                  <a:lnTo>
                    <a:pt x="154566" y="224266"/>
                  </a:lnTo>
                  <a:lnTo>
                    <a:pt x="154566" y="262953"/>
                  </a:lnTo>
                  <a:lnTo>
                    <a:pt x="193252" y="262953"/>
                  </a:lnTo>
                  <a:lnTo>
                    <a:pt x="193252" y="224266"/>
                  </a:lnTo>
                  <a:lnTo>
                    <a:pt x="231939" y="224266"/>
                  </a:lnTo>
                  <a:lnTo>
                    <a:pt x="231939" y="185580"/>
                  </a:lnTo>
                  <a:lnTo>
                    <a:pt x="193252" y="185580"/>
                  </a:lnTo>
                  <a:lnTo>
                    <a:pt x="193252" y="146893"/>
                  </a:lnTo>
                  <a:close/>
                  <a:moveTo>
                    <a:pt x="28577" y="75336"/>
                  </a:moveTo>
                  <a:lnTo>
                    <a:pt x="319242" y="75336"/>
                  </a:lnTo>
                  <a:cubicBezTo>
                    <a:pt x="324580" y="75344"/>
                    <a:pt x="328906" y="79669"/>
                    <a:pt x="328913" y="85008"/>
                  </a:cubicBezTo>
                  <a:lnTo>
                    <a:pt x="328913" y="324864"/>
                  </a:lnTo>
                  <a:cubicBezTo>
                    <a:pt x="328906" y="330203"/>
                    <a:pt x="324580" y="334528"/>
                    <a:pt x="319242" y="334536"/>
                  </a:cubicBezTo>
                  <a:lnTo>
                    <a:pt x="28577" y="334536"/>
                  </a:lnTo>
                  <a:cubicBezTo>
                    <a:pt x="23238" y="334528"/>
                    <a:pt x="18913" y="330203"/>
                    <a:pt x="18905" y="324864"/>
                  </a:cubicBezTo>
                  <a:lnTo>
                    <a:pt x="18905" y="85008"/>
                  </a:lnTo>
                  <a:cubicBezTo>
                    <a:pt x="18913" y="79669"/>
                    <a:pt x="23238" y="75344"/>
                    <a:pt x="28577" y="75336"/>
                  </a:cubicBezTo>
                  <a:close/>
                  <a:moveTo>
                    <a:pt x="28576" y="68862"/>
                  </a:moveTo>
                  <a:cubicBezTo>
                    <a:pt x="19680" y="68877"/>
                    <a:pt x="12471" y="76085"/>
                    <a:pt x="12457" y="84982"/>
                  </a:cubicBezTo>
                  <a:lnTo>
                    <a:pt x="12457" y="324839"/>
                  </a:lnTo>
                  <a:cubicBezTo>
                    <a:pt x="12471" y="333735"/>
                    <a:pt x="19680" y="340944"/>
                    <a:pt x="28576" y="340958"/>
                  </a:cubicBezTo>
                  <a:lnTo>
                    <a:pt x="319242" y="340958"/>
                  </a:lnTo>
                  <a:cubicBezTo>
                    <a:pt x="328138" y="340944"/>
                    <a:pt x="335347" y="333735"/>
                    <a:pt x="335361" y="324839"/>
                  </a:cubicBezTo>
                  <a:lnTo>
                    <a:pt x="335361" y="84982"/>
                  </a:lnTo>
                  <a:cubicBezTo>
                    <a:pt x="335347" y="76085"/>
                    <a:pt x="328138" y="68877"/>
                    <a:pt x="319242" y="68862"/>
                  </a:cubicBezTo>
                  <a:close/>
                  <a:moveTo>
                    <a:pt x="12896" y="57192"/>
                  </a:moveTo>
                  <a:lnTo>
                    <a:pt x="334922" y="57192"/>
                  </a:lnTo>
                  <a:cubicBezTo>
                    <a:pt x="342045" y="57192"/>
                    <a:pt x="347818" y="62965"/>
                    <a:pt x="347818" y="70088"/>
                  </a:cubicBezTo>
                  <a:lnTo>
                    <a:pt x="347818" y="339759"/>
                  </a:lnTo>
                  <a:cubicBezTo>
                    <a:pt x="347818" y="346881"/>
                    <a:pt x="342045" y="352654"/>
                    <a:pt x="334922" y="352654"/>
                  </a:cubicBezTo>
                  <a:lnTo>
                    <a:pt x="12896" y="352654"/>
                  </a:lnTo>
                  <a:cubicBezTo>
                    <a:pt x="5773" y="352654"/>
                    <a:pt x="0" y="346881"/>
                    <a:pt x="0" y="339759"/>
                  </a:cubicBezTo>
                  <a:lnTo>
                    <a:pt x="0" y="70088"/>
                  </a:lnTo>
                  <a:cubicBezTo>
                    <a:pt x="0" y="62965"/>
                    <a:pt x="5773" y="57192"/>
                    <a:pt x="12896" y="57192"/>
                  </a:cubicBezTo>
                  <a:close/>
                  <a:moveTo>
                    <a:pt x="87290" y="0"/>
                  </a:moveTo>
                  <a:lnTo>
                    <a:pt x="257240" y="0"/>
                  </a:lnTo>
                  <a:cubicBezTo>
                    <a:pt x="261514" y="0"/>
                    <a:pt x="264978" y="3464"/>
                    <a:pt x="264978" y="7737"/>
                  </a:cubicBezTo>
                  <a:lnTo>
                    <a:pt x="264978" y="50409"/>
                  </a:lnTo>
                  <a:lnTo>
                    <a:pt x="252082" y="50409"/>
                  </a:lnTo>
                  <a:lnTo>
                    <a:pt x="252082" y="12896"/>
                  </a:lnTo>
                  <a:lnTo>
                    <a:pt x="92449" y="12896"/>
                  </a:lnTo>
                  <a:lnTo>
                    <a:pt x="92449" y="50409"/>
                  </a:lnTo>
                  <a:lnTo>
                    <a:pt x="79553" y="50409"/>
                  </a:lnTo>
                  <a:lnTo>
                    <a:pt x="79553" y="7737"/>
                  </a:lnTo>
                  <a:cubicBezTo>
                    <a:pt x="79553" y="3464"/>
                    <a:pt x="83017" y="0"/>
                    <a:pt x="87290" y="0"/>
                  </a:cubicBezTo>
                  <a:close/>
                </a:path>
              </a:pathLst>
            </a:custGeom>
            <a:solidFill>
              <a:srgbClr val="025EA1"/>
            </a:solidFill>
            <a:ln w="12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539B0C2B-9B3A-04C4-3EBC-E2F892A2A7A4}"/>
              </a:ext>
            </a:extLst>
          </p:cNvPr>
          <p:cNvSpPr txBox="1"/>
          <p:nvPr/>
        </p:nvSpPr>
        <p:spPr>
          <a:xfrm>
            <a:off x="4743087" y="735488"/>
            <a:ext cx="487672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48"/>
            <a:r>
              <a:rPr lang="ru-RU" sz="1400" b="1" dirty="0">
                <a:gradFill flip="none" rotWithShape="1">
                  <a:gsLst>
                    <a:gs pos="0">
                      <a:schemeClr val="accent3"/>
                    </a:gs>
                    <a:gs pos="97000">
                      <a:schemeClr val="accent1"/>
                    </a:gs>
                  </a:gsLst>
                  <a:lin ang="5400000" scaled="1"/>
                  <a:tileRect/>
                </a:gradFill>
                <a:latin typeface="Arial" panose="020B0604020202020204" pitchFamily="34" charset="0"/>
                <a:cs typeface="Arial" panose="020B0604020202020204" pitchFamily="34" charset="0"/>
              </a:rPr>
              <a:t>Работы выполняются </a:t>
            </a:r>
          </a:p>
          <a:p>
            <a:pPr defTabSz="914348"/>
            <a:r>
              <a:rPr lang="ru-RU" sz="1400" b="1" dirty="0">
                <a:gradFill flip="none" rotWithShape="1">
                  <a:gsLst>
                    <a:gs pos="0">
                      <a:schemeClr val="accent3"/>
                    </a:gs>
                    <a:gs pos="97000">
                      <a:schemeClr val="accent1"/>
                    </a:gs>
                  </a:gsLst>
                  <a:lin ang="5400000" scaled="1"/>
                  <a:tileRect/>
                </a:gradFill>
                <a:latin typeface="Arial" panose="020B0604020202020204" pitchFamily="34" charset="0"/>
                <a:cs typeface="Arial" panose="020B0604020202020204" pitchFamily="34" charset="0"/>
              </a:rPr>
              <a:t>ФГБУ ГНЦ ФМБЦ им. А.И. Бурназяна ФМБА России</a:t>
            </a:r>
            <a:r>
              <a:rPr lang="ru-RU" b="1" dirty="0">
                <a:gradFill flip="none" rotWithShape="1">
                  <a:gsLst>
                    <a:gs pos="0">
                      <a:schemeClr val="accent3"/>
                    </a:gs>
                    <a:gs pos="97000">
                      <a:schemeClr val="accent1"/>
                    </a:gs>
                  </a:gsLst>
                  <a:lin ang="5400000" scaled="1"/>
                  <a:tileRect/>
                </a:gra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6122879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Заголовок 5"/>
          <p:cNvSpPr txBox="1">
            <a:spLocks/>
          </p:cNvSpPr>
          <p:nvPr/>
        </p:nvSpPr>
        <p:spPr>
          <a:xfrm>
            <a:off x="675763" y="310156"/>
            <a:ext cx="5899470" cy="459206"/>
          </a:xfrm>
          <a:prstGeom prst="rect">
            <a:avLst/>
          </a:prstGeom>
        </p:spPr>
        <p:txBody>
          <a:bodyPr lIns="0" tIns="0" rIns="0" bIns="0"/>
          <a:lstStyle>
            <a:lvl1pPr algn="l" defTabSz="104269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3200" b="1" kern="120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sz="2300" dirty="0"/>
              <a:t>Финансирование программы</a:t>
            </a:r>
          </a:p>
        </p:txBody>
      </p:sp>
      <p:sp>
        <p:nvSpPr>
          <p:cNvPr id="141" name="Rectangle 3"/>
          <p:cNvSpPr>
            <a:spLocks noGrp="1" noChangeArrowheads="1"/>
          </p:cNvSpPr>
          <p:nvPr>
            <p:custDataLst>
              <p:tags r:id="rId1"/>
            </p:custDataLst>
          </p:nvPr>
        </p:nvSpPr>
        <p:spPr bwMode="auto">
          <a:xfrm>
            <a:off x="2170237" y="2728549"/>
            <a:ext cx="266700" cy="1626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80975" indent="-180975" algn="l" rtl="0" eaLnBrk="1" fontAlgn="base" hangingPunct="1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7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8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6205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Blip>
                <a:blip r:embed="rId8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ru-RU" sz="969" dirty="0">
              <a:solidFill>
                <a:srgbClr val="0070C0"/>
              </a:solidFill>
              <a:sym typeface="+mn-lt"/>
            </a:endParaRPr>
          </a:p>
        </p:txBody>
      </p:sp>
      <p:sp>
        <p:nvSpPr>
          <p:cNvPr id="142" name="Rectangle 3"/>
          <p:cNvSpPr>
            <a:spLocks noGrp="1" noChangeArrowheads="1"/>
          </p:cNvSpPr>
          <p:nvPr>
            <p:custDataLst>
              <p:tags r:id="rId2"/>
            </p:custDataLst>
          </p:nvPr>
        </p:nvSpPr>
        <p:spPr bwMode="auto">
          <a:xfrm>
            <a:off x="3181353" y="2728549"/>
            <a:ext cx="271097" cy="1626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80975" indent="-180975" algn="l" rtl="0" eaLnBrk="1" fontAlgn="base" hangingPunct="1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7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8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6205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Blip>
                <a:blip r:embed="rId8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ru-RU" sz="969" dirty="0">
              <a:solidFill>
                <a:srgbClr val="0070C0"/>
              </a:solidFill>
              <a:sym typeface="+mn-lt"/>
            </a:endParaRPr>
          </a:p>
        </p:txBody>
      </p:sp>
      <p:sp>
        <p:nvSpPr>
          <p:cNvPr id="143" name="Rectangle 3"/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gray">
          <a:xfrm>
            <a:off x="2212731" y="5117126"/>
            <a:ext cx="181708" cy="1699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19050" tIns="0" rIns="19050" bIns="0" numCol="1" spcCol="0" anchor="b" anchorCtr="0" compatLnSpc="1">
            <a:prstTxWarp prst="textNoShape">
              <a:avLst/>
            </a:prstTxWarp>
            <a:noAutofit/>
          </a:bodyPr>
          <a:lstStyle>
            <a:lvl1pPr marL="180975" indent="-180975" algn="l" rtl="0" eaLnBrk="1" fontAlgn="base" hangingPunct="1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7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8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6205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Blip>
                <a:blip r:embed="rId8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ru-RU" sz="1015" b="1" dirty="0">
              <a:solidFill>
                <a:schemeClr val="tx2">
                  <a:lumMod val="50000"/>
                </a:schemeClr>
              </a:solidFill>
              <a:sym typeface="+mn-lt"/>
            </a:endParaRPr>
          </a:p>
        </p:txBody>
      </p:sp>
      <p:sp>
        <p:nvSpPr>
          <p:cNvPr id="148" name="Rectangle 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8469926" y="2300654"/>
            <a:ext cx="347297" cy="123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80975" indent="-180975" algn="l" rtl="0" eaLnBrk="1" fontAlgn="base" hangingPunct="1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7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8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6205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Blip>
                <a:blip r:embed="rId8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endParaRPr lang="ru-RU" sz="738" dirty="0">
              <a:solidFill>
                <a:schemeClr val="tx2">
                  <a:lumMod val="50000"/>
                </a:schemeClr>
              </a:solidFill>
              <a:sym typeface="+mn-lt"/>
            </a:endParaRPr>
          </a:p>
        </p:txBody>
      </p:sp>
      <p:sp>
        <p:nvSpPr>
          <p:cNvPr id="149" name="Rectangle 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8469926" y="2470639"/>
            <a:ext cx="347297" cy="123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80975" indent="-180975" algn="l" rtl="0" eaLnBrk="1" fontAlgn="base" hangingPunct="1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7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8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6205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Blip>
                <a:blip r:embed="rId8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endParaRPr lang="ru-RU" sz="738" dirty="0">
              <a:solidFill>
                <a:schemeClr val="tx2">
                  <a:lumMod val="50000"/>
                </a:schemeClr>
              </a:solidFill>
              <a:sym typeface="+mn-lt"/>
            </a:endParaRPr>
          </a:p>
        </p:txBody>
      </p:sp>
      <p:graphicFrame>
        <p:nvGraphicFramePr>
          <p:cNvPr id="51" name="Chart 3">
            <a:extLst>
              <a:ext uri="{FF2B5EF4-FFF2-40B4-BE49-F238E27FC236}">
                <a16:creationId xmlns:a16="http://schemas.microsoft.com/office/drawing/2014/main" id="{61F45123-D4BE-4D6B-972F-A695C8BBF74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07428065"/>
              </p:ext>
            </p:extLst>
          </p:nvPr>
        </p:nvGraphicFramePr>
        <p:xfrm>
          <a:off x="1618827" y="1389641"/>
          <a:ext cx="2237927" cy="22121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cxnSp>
        <p:nvCxnSpPr>
          <p:cNvPr id="65" name="Straight Connector 22">
            <a:extLst>
              <a:ext uri="{FF2B5EF4-FFF2-40B4-BE49-F238E27FC236}">
                <a16:creationId xmlns:a16="http://schemas.microsoft.com/office/drawing/2014/main" id="{D5268DCC-9DB3-4491-B0CF-8922FE62FB5C}"/>
              </a:ext>
            </a:extLst>
          </p:cNvPr>
          <p:cNvCxnSpPr/>
          <p:nvPr/>
        </p:nvCxnSpPr>
        <p:spPr>
          <a:xfrm>
            <a:off x="5795703" y="1188309"/>
            <a:ext cx="4784515" cy="2216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25">
            <a:extLst>
              <a:ext uri="{FF2B5EF4-FFF2-40B4-BE49-F238E27FC236}">
                <a16:creationId xmlns:a16="http://schemas.microsoft.com/office/drawing/2014/main" id="{C1001FDE-62CD-477E-B770-042FDB6A1AB3}"/>
              </a:ext>
            </a:extLst>
          </p:cNvPr>
          <p:cNvSpPr/>
          <p:nvPr/>
        </p:nvSpPr>
        <p:spPr>
          <a:xfrm>
            <a:off x="8718824" y="1369619"/>
            <a:ext cx="149515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b="1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Общая </a:t>
            </a:r>
          </a:p>
          <a:p>
            <a:pPr algn="ctr"/>
            <a:r>
              <a:rPr lang="ru-RU" sz="900" b="1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задолженность</a:t>
            </a:r>
          </a:p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233 млн руб.</a:t>
            </a:r>
            <a:endParaRPr lang="ms-MY" sz="1400" b="1" dirty="0">
              <a:solidFill>
                <a:schemeClr val="tx1">
                  <a:lumMod val="65000"/>
                  <a:lumOff val="35000"/>
                </a:schemeClr>
              </a:solidFill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8" name="Rectangle 16">
            <a:extLst>
              <a:ext uri="{FF2B5EF4-FFF2-40B4-BE49-F238E27FC236}">
                <a16:creationId xmlns:a16="http://schemas.microsoft.com/office/drawing/2014/main" id="{180333AB-0999-46DB-BDF6-FA0CFE8C3E0A}"/>
              </a:ext>
            </a:extLst>
          </p:cNvPr>
          <p:cNvSpPr/>
          <p:nvPr/>
        </p:nvSpPr>
        <p:spPr>
          <a:xfrm>
            <a:off x="942103" y="1666614"/>
            <a:ext cx="105400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Россия 75 %</a:t>
            </a:r>
            <a:endParaRPr lang="ms-MY" sz="1050" dirty="0">
              <a:solidFill>
                <a:schemeClr val="tx1">
                  <a:lumMod val="65000"/>
                  <a:lumOff val="35000"/>
                </a:schemeClr>
              </a:solidFill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9" name="Rectangle 16">
            <a:extLst>
              <a:ext uri="{FF2B5EF4-FFF2-40B4-BE49-F238E27FC236}">
                <a16:creationId xmlns:a16="http://schemas.microsoft.com/office/drawing/2014/main" id="{506AACE4-7523-4A06-B1CC-B3F9A837CC4A}"/>
              </a:ext>
            </a:extLst>
          </p:cNvPr>
          <p:cNvSpPr/>
          <p:nvPr/>
        </p:nvSpPr>
        <p:spPr>
          <a:xfrm>
            <a:off x="3397710" y="1600578"/>
            <a:ext cx="1495161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Казахстан 15 %</a:t>
            </a:r>
            <a:endParaRPr lang="ms-MY" sz="1050" dirty="0">
              <a:solidFill>
                <a:schemeClr val="tx1">
                  <a:lumMod val="65000"/>
                  <a:lumOff val="35000"/>
                </a:schemeClr>
              </a:solidFill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0" name="Rectangle 16">
            <a:extLst>
              <a:ext uri="{FF2B5EF4-FFF2-40B4-BE49-F238E27FC236}">
                <a16:creationId xmlns:a16="http://schemas.microsoft.com/office/drawing/2014/main" id="{566EA2AA-0DBB-4E4C-B116-21E12F35DF0B}"/>
              </a:ext>
            </a:extLst>
          </p:cNvPr>
          <p:cNvSpPr/>
          <p:nvPr/>
        </p:nvSpPr>
        <p:spPr>
          <a:xfrm flipH="1">
            <a:off x="1834861" y="988816"/>
            <a:ext cx="119326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Киргизия 5 %</a:t>
            </a:r>
            <a:endParaRPr lang="ms-MY" sz="1050" dirty="0">
              <a:solidFill>
                <a:schemeClr val="tx1">
                  <a:lumMod val="65000"/>
                  <a:lumOff val="35000"/>
                </a:schemeClr>
              </a:solidFill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1" name="Rectangle 16">
            <a:extLst>
              <a:ext uri="{FF2B5EF4-FFF2-40B4-BE49-F238E27FC236}">
                <a16:creationId xmlns:a16="http://schemas.microsoft.com/office/drawing/2014/main" id="{3108E378-6184-40A0-B21B-783D81FE157A}"/>
              </a:ext>
            </a:extLst>
          </p:cNvPr>
          <p:cNvSpPr/>
          <p:nvPr/>
        </p:nvSpPr>
        <p:spPr>
          <a:xfrm>
            <a:off x="3052442" y="992838"/>
            <a:ext cx="1495161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Таджикистан 5 %</a:t>
            </a:r>
            <a:endParaRPr lang="ms-MY" sz="1050" dirty="0">
              <a:solidFill>
                <a:schemeClr val="tx1">
                  <a:lumMod val="65000"/>
                  <a:lumOff val="35000"/>
                </a:schemeClr>
              </a:solidFill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138CD5F-270E-4F5C-9DCC-D774250B5B22}"/>
              </a:ext>
            </a:extLst>
          </p:cNvPr>
          <p:cNvSpPr txBox="1"/>
          <p:nvPr/>
        </p:nvSpPr>
        <p:spPr>
          <a:xfrm>
            <a:off x="2313251" y="2243759"/>
            <a:ext cx="858548" cy="5155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44083"/>
            <a:r>
              <a:rPr lang="ru-RU" sz="1600" b="1" dirty="0">
                <a:cs typeface="Quire Sans" panose="020B0502040400020003" pitchFamily="34" charset="0"/>
              </a:rPr>
              <a:t>3,155</a:t>
            </a:r>
            <a:r>
              <a:rPr lang="ru-RU" sz="1600" dirty="0">
                <a:cs typeface="Quire Sans" panose="020B0502040400020003" pitchFamily="34" charset="0"/>
              </a:rPr>
              <a:t> </a:t>
            </a:r>
          </a:p>
          <a:p>
            <a:pPr algn="ctr" defTabSz="844083"/>
            <a:r>
              <a:rPr lang="ru-RU" sz="1150" dirty="0">
                <a:cs typeface="Quire Sans" panose="020B0502040400020003" pitchFamily="34" charset="0"/>
              </a:rPr>
              <a:t>млрд руб.</a:t>
            </a:r>
          </a:p>
        </p:txBody>
      </p:sp>
      <p:sp>
        <p:nvSpPr>
          <p:cNvPr id="158" name="任意多边形 35">
            <a:extLst>
              <a:ext uri="{FF2B5EF4-FFF2-40B4-BE49-F238E27FC236}">
                <a16:creationId xmlns:a16="http://schemas.microsoft.com/office/drawing/2014/main" id="{CD3BD7EA-786C-4CE4-BD6A-C39A810E25E7}"/>
              </a:ext>
            </a:extLst>
          </p:cNvPr>
          <p:cNvSpPr/>
          <p:nvPr/>
        </p:nvSpPr>
        <p:spPr>
          <a:xfrm rot="10800000" flipV="1">
            <a:off x="3164471" y="1246754"/>
            <a:ext cx="1036836" cy="395881"/>
          </a:xfrm>
          <a:custGeom>
            <a:avLst/>
            <a:gdLst>
              <a:gd name="connsiteX0" fmla="*/ 2554514 w 2554514"/>
              <a:gd name="connsiteY0" fmla="*/ 2249714 h 2249714"/>
              <a:gd name="connsiteX1" fmla="*/ 2554514 w 2554514"/>
              <a:gd name="connsiteY1" fmla="*/ 0 h 2249714"/>
              <a:gd name="connsiteX2" fmla="*/ 0 w 2554514"/>
              <a:gd name="connsiteY2" fmla="*/ 0 h 2249714"/>
              <a:gd name="connsiteX0" fmla="*/ 1616857 w 1616857"/>
              <a:gd name="connsiteY0" fmla="*/ 2249715 h 2249715"/>
              <a:gd name="connsiteX1" fmla="*/ 1616857 w 1616857"/>
              <a:gd name="connsiteY1" fmla="*/ 1 h 2249715"/>
              <a:gd name="connsiteX2" fmla="*/ 1 w 1616857"/>
              <a:gd name="connsiteY2" fmla="*/ 0 h 2249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16857" h="2249715">
                <a:moveTo>
                  <a:pt x="1616857" y="2249715"/>
                </a:moveTo>
                <a:lnTo>
                  <a:pt x="1616857" y="1"/>
                </a:lnTo>
                <a:lnTo>
                  <a:pt x="1" y="0"/>
                </a:lnTo>
              </a:path>
            </a:pathLst>
          </a:custGeom>
          <a:noFill/>
          <a:ln w="222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4" name="任意多边形 35">
            <a:extLst>
              <a:ext uri="{FF2B5EF4-FFF2-40B4-BE49-F238E27FC236}">
                <a16:creationId xmlns:a16="http://schemas.microsoft.com/office/drawing/2014/main" id="{C7E72C47-EB67-4C15-A8D0-BBD6A516280E}"/>
              </a:ext>
            </a:extLst>
          </p:cNvPr>
          <p:cNvSpPr/>
          <p:nvPr/>
        </p:nvSpPr>
        <p:spPr>
          <a:xfrm rot="10800000" flipH="1" flipV="1">
            <a:off x="1909377" y="1230799"/>
            <a:ext cx="891768" cy="308699"/>
          </a:xfrm>
          <a:custGeom>
            <a:avLst/>
            <a:gdLst>
              <a:gd name="connsiteX0" fmla="*/ 2554514 w 2554514"/>
              <a:gd name="connsiteY0" fmla="*/ 2249714 h 2249714"/>
              <a:gd name="connsiteX1" fmla="*/ 2554514 w 2554514"/>
              <a:gd name="connsiteY1" fmla="*/ 0 h 2249714"/>
              <a:gd name="connsiteX2" fmla="*/ 0 w 2554514"/>
              <a:gd name="connsiteY2" fmla="*/ 0 h 2249714"/>
              <a:gd name="connsiteX0" fmla="*/ 1616857 w 1616857"/>
              <a:gd name="connsiteY0" fmla="*/ 2249715 h 2249715"/>
              <a:gd name="connsiteX1" fmla="*/ 1616857 w 1616857"/>
              <a:gd name="connsiteY1" fmla="*/ 1 h 2249715"/>
              <a:gd name="connsiteX2" fmla="*/ 1 w 1616857"/>
              <a:gd name="connsiteY2" fmla="*/ 0 h 2249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16857" h="2249715">
                <a:moveTo>
                  <a:pt x="1616857" y="2249715"/>
                </a:moveTo>
                <a:lnTo>
                  <a:pt x="1616857" y="1"/>
                </a:lnTo>
                <a:lnTo>
                  <a:pt x="1" y="0"/>
                </a:lnTo>
              </a:path>
            </a:pathLst>
          </a:custGeom>
          <a:noFill/>
          <a:ln w="222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cxnSp>
        <p:nvCxnSpPr>
          <p:cNvPr id="167" name="直接连接符 38">
            <a:extLst>
              <a:ext uri="{FF2B5EF4-FFF2-40B4-BE49-F238E27FC236}">
                <a16:creationId xmlns:a16="http://schemas.microsoft.com/office/drawing/2014/main" id="{9331A62B-6CB1-47CC-A0D3-E2EBFB65BCF0}"/>
              </a:ext>
            </a:extLst>
          </p:cNvPr>
          <p:cNvCxnSpPr>
            <a:cxnSpLocks/>
          </p:cNvCxnSpPr>
          <p:nvPr/>
        </p:nvCxnSpPr>
        <p:spPr>
          <a:xfrm>
            <a:off x="1034420" y="1935249"/>
            <a:ext cx="915816" cy="0"/>
          </a:xfrm>
          <a:prstGeom prst="line">
            <a:avLst/>
          </a:prstGeom>
          <a:noFill/>
          <a:ln w="222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8" name="直接连接符 38">
            <a:extLst>
              <a:ext uri="{FF2B5EF4-FFF2-40B4-BE49-F238E27FC236}">
                <a16:creationId xmlns:a16="http://schemas.microsoft.com/office/drawing/2014/main" id="{5A5F9916-1CB2-4326-8744-CFE4615DBCFE}"/>
              </a:ext>
            </a:extLst>
          </p:cNvPr>
          <p:cNvCxnSpPr>
            <a:cxnSpLocks/>
          </p:cNvCxnSpPr>
          <p:nvPr/>
        </p:nvCxnSpPr>
        <p:spPr>
          <a:xfrm>
            <a:off x="3478391" y="1844966"/>
            <a:ext cx="972000" cy="0"/>
          </a:xfrm>
          <a:prstGeom prst="line">
            <a:avLst/>
          </a:prstGeom>
          <a:noFill/>
          <a:ln w="222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aphicFrame>
        <p:nvGraphicFramePr>
          <p:cNvPr id="17" name="Chart 3">
            <a:extLst>
              <a:ext uri="{FF2B5EF4-FFF2-40B4-BE49-F238E27FC236}">
                <a16:creationId xmlns:a16="http://schemas.microsoft.com/office/drawing/2014/main" id="{E92E58C2-9891-4F3D-8B2E-FEFAED20229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96640178"/>
              </p:ext>
            </p:extLst>
          </p:nvPr>
        </p:nvGraphicFramePr>
        <p:xfrm>
          <a:off x="1602287" y="4315315"/>
          <a:ext cx="2243986" cy="22121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cxnSp>
        <p:nvCxnSpPr>
          <p:cNvPr id="170" name="直接连接符 38">
            <a:extLst>
              <a:ext uri="{FF2B5EF4-FFF2-40B4-BE49-F238E27FC236}">
                <a16:creationId xmlns:a16="http://schemas.microsoft.com/office/drawing/2014/main" id="{5F854FC0-90DB-4371-A520-B4402D9C2EEC}"/>
              </a:ext>
            </a:extLst>
          </p:cNvPr>
          <p:cNvCxnSpPr>
            <a:cxnSpLocks/>
          </p:cNvCxnSpPr>
          <p:nvPr/>
        </p:nvCxnSpPr>
        <p:spPr>
          <a:xfrm>
            <a:off x="1011195" y="4866886"/>
            <a:ext cx="915816" cy="0"/>
          </a:xfrm>
          <a:prstGeom prst="line">
            <a:avLst/>
          </a:prstGeom>
          <a:noFill/>
          <a:ln w="222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71" name="直接连接符 38">
            <a:extLst>
              <a:ext uri="{FF2B5EF4-FFF2-40B4-BE49-F238E27FC236}">
                <a16:creationId xmlns:a16="http://schemas.microsoft.com/office/drawing/2014/main" id="{6C7E2AA1-807D-4F20-B690-6F624206E1D9}"/>
              </a:ext>
            </a:extLst>
          </p:cNvPr>
          <p:cNvCxnSpPr>
            <a:cxnSpLocks/>
          </p:cNvCxnSpPr>
          <p:nvPr/>
        </p:nvCxnSpPr>
        <p:spPr>
          <a:xfrm>
            <a:off x="3546842" y="4855975"/>
            <a:ext cx="1080000" cy="0"/>
          </a:xfrm>
          <a:prstGeom prst="line">
            <a:avLst/>
          </a:prstGeom>
          <a:noFill/>
          <a:ln w="222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8" name="任意多边形 35">
            <a:extLst>
              <a:ext uri="{FF2B5EF4-FFF2-40B4-BE49-F238E27FC236}">
                <a16:creationId xmlns:a16="http://schemas.microsoft.com/office/drawing/2014/main" id="{47474901-FD4C-4040-B1AE-6D4C7BD4E7DF}"/>
              </a:ext>
            </a:extLst>
          </p:cNvPr>
          <p:cNvSpPr/>
          <p:nvPr/>
        </p:nvSpPr>
        <p:spPr>
          <a:xfrm rot="10800000" flipV="1">
            <a:off x="3114047" y="4103346"/>
            <a:ext cx="1196896" cy="395881"/>
          </a:xfrm>
          <a:custGeom>
            <a:avLst/>
            <a:gdLst>
              <a:gd name="connsiteX0" fmla="*/ 2554514 w 2554514"/>
              <a:gd name="connsiteY0" fmla="*/ 2249714 h 2249714"/>
              <a:gd name="connsiteX1" fmla="*/ 2554514 w 2554514"/>
              <a:gd name="connsiteY1" fmla="*/ 0 h 2249714"/>
              <a:gd name="connsiteX2" fmla="*/ 0 w 2554514"/>
              <a:gd name="connsiteY2" fmla="*/ 0 h 2249714"/>
              <a:gd name="connsiteX0" fmla="*/ 1616857 w 1616857"/>
              <a:gd name="connsiteY0" fmla="*/ 2249715 h 2249715"/>
              <a:gd name="connsiteX1" fmla="*/ 1616857 w 1616857"/>
              <a:gd name="connsiteY1" fmla="*/ 1 h 2249715"/>
              <a:gd name="connsiteX2" fmla="*/ 1 w 1616857"/>
              <a:gd name="connsiteY2" fmla="*/ 0 h 2249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16857" h="2249715">
                <a:moveTo>
                  <a:pt x="1616857" y="2249715"/>
                </a:moveTo>
                <a:lnTo>
                  <a:pt x="1616857" y="1"/>
                </a:lnTo>
                <a:lnTo>
                  <a:pt x="1" y="0"/>
                </a:lnTo>
              </a:path>
            </a:pathLst>
          </a:custGeom>
          <a:noFill/>
          <a:ln w="222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9" name="任意多边形 35">
            <a:extLst>
              <a:ext uri="{FF2B5EF4-FFF2-40B4-BE49-F238E27FC236}">
                <a16:creationId xmlns:a16="http://schemas.microsoft.com/office/drawing/2014/main" id="{638E5A2E-C0CD-4CD4-B296-5B7BC56D5324}"/>
              </a:ext>
            </a:extLst>
          </p:cNvPr>
          <p:cNvSpPr/>
          <p:nvPr/>
        </p:nvSpPr>
        <p:spPr>
          <a:xfrm rot="10800000" flipH="1" flipV="1">
            <a:off x="1857701" y="4160618"/>
            <a:ext cx="891768" cy="308699"/>
          </a:xfrm>
          <a:custGeom>
            <a:avLst/>
            <a:gdLst>
              <a:gd name="connsiteX0" fmla="*/ 2554514 w 2554514"/>
              <a:gd name="connsiteY0" fmla="*/ 2249714 h 2249714"/>
              <a:gd name="connsiteX1" fmla="*/ 2554514 w 2554514"/>
              <a:gd name="connsiteY1" fmla="*/ 0 h 2249714"/>
              <a:gd name="connsiteX2" fmla="*/ 0 w 2554514"/>
              <a:gd name="connsiteY2" fmla="*/ 0 h 2249714"/>
              <a:gd name="connsiteX0" fmla="*/ 1616857 w 1616857"/>
              <a:gd name="connsiteY0" fmla="*/ 2249715 h 2249715"/>
              <a:gd name="connsiteX1" fmla="*/ 1616857 w 1616857"/>
              <a:gd name="connsiteY1" fmla="*/ 1 h 2249715"/>
              <a:gd name="connsiteX2" fmla="*/ 1 w 1616857"/>
              <a:gd name="connsiteY2" fmla="*/ 0 h 2249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16857" h="2249715">
                <a:moveTo>
                  <a:pt x="1616857" y="2249715"/>
                </a:moveTo>
                <a:lnTo>
                  <a:pt x="1616857" y="1"/>
                </a:lnTo>
                <a:lnTo>
                  <a:pt x="1" y="0"/>
                </a:lnTo>
              </a:path>
            </a:pathLst>
          </a:custGeom>
          <a:noFill/>
          <a:ln w="222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189A720-FF55-4CA0-94C5-E11240702B60}"/>
              </a:ext>
            </a:extLst>
          </p:cNvPr>
          <p:cNvSpPr txBox="1"/>
          <p:nvPr/>
        </p:nvSpPr>
        <p:spPr>
          <a:xfrm>
            <a:off x="2308513" y="5173945"/>
            <a:ext cx="858548" cy="5155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44083"/>
            <a:r>
              <a:rPr lang="ru-RU" sz="1600" b="1" dirty="0">
                <a:cs typeface="Quire Sans" panose="020B0502040400020003" pitchFamily="34" charset="0"/>
              </a:rPr>
              <a:t>2,541</a:t>
            </a:r>
            <a:endParaRPr lang="ru-RU" sz="1600" dirty="0">
              <a:cs typeface="Quire Sans" panose="020B0502040400020003" pitchFamily="34" charset="0"/>
            </a:endParaRPr>
          </a:p>
          <a:p>
            <a:pPr algn="ctr" defTabSz="844083"/>
            <a:r>
              <a:rPr lang="ru-RU" sz="1150" dirty="0">
                <a:cs typeface="Quire Sans" panose="020B0502040400020003" pitchFamily="34" charset="0"/>
              </a:rPr>
              <a:t>млрд руб.</a:t>
            </a:r>
          </a:p>
        </p:txBody>
      </p:sp>
      <p:sp>
        <p:nvSpPr>
          <p:cNvPr id="22" name="Rectangle 16">
            <a:extLst>
              <a:ext uri="{FF2B5EF4-FFF2-40B4-BE49-F238E27FC236}">
                <a16:creationId xmlns:a16="http://schemas.microsoft.com/office/drawing/2014/main" id="{CFED94DA-E5A2-4F23-A228-1FA71AEF4F63}"/>
              </a:ext>
            </a:extLst>
          </p:cNvPr>
          <p:cNvSpPr/>
          <p:nvPr/>
        </p:nvSpPr>
        <p:spPr>
          <a:xfrm>
            <a:off x="927691" y="4603420"/>
            <a:ext cx="105400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Россия 82 %</a:t>
            </a:r>
            <a:endParaRPr lang="ms-MY" sz="1050" dirty="0">
              <a:solidFill>
                <a:schemeClr val="tx1">
                  <a:lumMod val="65000"/>
                  <a:lumOff val="35000"/>
                </a:schemeClr>
              </a:solidFill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3" name="Rectangle 16">
            <a:extLst>
              <a:ext uri="{FF2B5EF4-FFF2-40B4-BE49-F238E27FC236}">
                <a16:creationId xmlns:a16="http://schemas.microsoft.com/office/drawing/2014/main" id="{564D1B38-1293-406E-99FD-948600F23BC6}"/>
              </a:ext>
            </a:extLst>
          </p:cNvPr>
          <p:cNvSpPr/>
          <p:nvPr/>
        </p:nvSpPr>
        <p:spPr>
          <a:xfrm>
            <a:off x="3460806" y="4601165"/>
            <a:ext cx="1495161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Казахстан </a:t>
            </a:r>
            <a:r>
              <a:rPr lang="ru-RU" sz="1050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  <a:sym typeface="Symbol" panose="05050102010706020507" pitchFamily="18" charset="2"/>
              </a:rPr>
              <a:t> </a:t>
            </a:r>
            <a:r>
              <a:rPr lang="ru-RU" sz="1050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7,5 %</a:t>
            </a:r>
            <a:endParaRPr lang="ms-MY" sz="1050" dirty="0">
              <a:solidFill>
                <a:schemeClr val="tx1">
                  <a:lumMod val="65000"/>
                  <a:lumOff val="35000"/>
                </a:schemeClr>
              </a:solidFill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4" name="Rectangle 16">
            <a:extLst>
              <a:ext uri="{FF2B5EF4-FFF2-40B4-BE49-F238E27FC236}">
                <a16:creationId xmlns:a16="http://schemas.microsoft.com/office/drawing/2014/main" id="{6CF65A8B-098F-45AC-81AD-AD85FC02B373}"/>
              </a:ext>
            </a:extLst>
          </p:cNvPr>
          <p:cNvSpPr/>
          <p:nvPr/>
        </p:nvSpPr>
        <p:spPr>
          <a:xfrm>
            <a:off x="3028121" y="3859786"/>
            <a:ext cx="1495161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Таджикистан </a:t>
            </a:r>
            <a:r>
              <a:rPr lang="ru-RU" sz="1050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  <a:sym typeface="Symbol" panose="05050102010706020507" pitchFamily="18" charset="2"/>
              </a:rPr>
              <a:t></a:t>
            </a:r>
            <a:r>
              <a:rPr lang="ru-RU" sz="1050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 5,5 %</a:t>
            </a:r>
            <a:endParaRPr lang="ms-MY" sz="1050" dirty="0">
              <a:solidFill>
                <a:schemeClr val="tx1">
                  <a:lumMod val="65000"/>
                  <a:lumOff val="35000"/>
                </a:schemeClr>
              </a:solidFill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25" name="Rectangle 16">
            <a:extLst>
              <a:ext uri="{FF2B5EF4-FFF2-40B4-BE49-F238E27FC236}">
                <a16:creationId xmlns:a16="http://schemas.microsoft.com/office/drawing/2014/main" id="{387FD72B-F0C4-4AB9-9AE5-B8EED80E5E66}"/>
              </a:ext>
            </a:extLst>
          </p:cNvPr>
          <p:cNvSpPr/>
          <p:nvPr/>
        </p:nvSpPr>
        <p:spPr>
          <a:xfrm flipH="1">
            <a:off x="1768754" y="3904402"/>
            <a:ext cx="119326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Киргизия </a:t>
            </a:r>
            <a:r>
              <a:rPr lang="ru-RU" sz="1050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  <a:sym typeface="Symbol" panose="05050102010706020507" pitchFamily="18" charset="2"/>
              </a:rPr>
              <a:t></a:t>
            </a:r>
            <a:r>
              <a:rPr lang="ru-RU" sz="1050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 5 %</a:t>
            </a:r>
            <a:endParaRPr lang="ms-MY" sz="1050" dirty="0">
              <a:solidFill>
                <a:schemeClr val="tx1">
                  <a:lumMod val="65000"/>
                  <a:lumOff val="35000"/>
                </a:schemeClr>
              </a:solidFill>
              <a:ea typeface="Open Sans" pitchFamily="34" charset="0"/>
              <a:cs typeface="Open Sans" pitchFamily="34" charset="0"/>
            </a:endParaRPr>
          </a:p>
        </p:txBody>
      </p:sp>
      <p:cxnSp>
        <p:nvCxnSpPr>
          <p:cNvPr id="182" name="Прямая соединительная линия 181">
            <a:extLst>
              <a:ext uri="{FF2B5EF4-FFF2-40B4-BE49-F238E27FC236}">
                <a16:creationId xmlns:a16="http://schemas.microsoft.com/office/drawing/2014/main" id="{249D1AA4-3F78-45AD-8C67-E1CBE57B05BC}"/>
              </a:ext>
            </a:extLst>
          </p:cNvPr>
          <p:cNvCxnSpPr>
            <a:cxnSpLocks/>
          </p:cNvCxnSpPr>
          <p:nvPr/>
        </p:nvCxnSpPr>
        <p:spPr>
          <a:xfrm>
            <a:off x="5295500" y="1166579"/>
            <a:ext cx="0" cy="514408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dash"/>
          </a:ln>
          <a:effectLst/>
        </p:spPr>
      </p:cxnSp>
      <p:cxnSp>
        <p:nvCxnSpPr>
          <p:cNvPr id="198" name="直接连接符 38">
            <a:extLst>
              <a:ext uri="{FF2B5EF4-FFF2-40B4-BE49-F238E27FC236}">
                <a16:creationId xmlns:a16="http://schemas.microsoft.com/office/drawing/2014/main" id="{FB0B7D3B-3B44-4368-B178-A893CCEDE3BE}"/>
              </a:ext>
            </a:extLst>
          </p:cNvPr>
          <p:cNvCxnSpPr>
            <a:cxnSpLocks/>
          </p:cNvCxnSpPr>
          <p:nvPr/>
        </p:nvCxnSpPr>
        <p:spPr>
          <a:xfrm flipV="1">
            <a:off x="6997375" y="1228966"/>
            <a:ext cx="0" cy="134203"/>
          </a:xfrm>
          <a:prstGeom prst="line">
            <a:avLst/>
          </a:prstGeom>
          <a:noFill/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6" name="Rectangle 25">
            <a:extLst>
              <a:ext uri="{FF2B5EF4-FFF2-40B4-BE49-F238E27FC236}">
                <a16:creationId xmlns:a16="http://schemas.microsoft.com/office/drawing/2014/main" id="{64F53CC8-5B26-49AD-A9AF-0B6EB464A5DE}"/>
              </a:ext>
            </a:extLst>
          </p:cNvPr>
          <p:cNvSpPr/>
          <p:nvPr/>
        </p:nvSpPr>
        <p:spPr>
          <a:xfrm>
            <a:off x="6362664" y="1367084"/>
            <a:ext cx="129580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Задолженность</a:t>
            </a:r>
          </a:p>
          <a:p>
            <a:pPr algn="ctr"/>
            <a:r>
              <a:rPr lang="ru-RU" sz="900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Казахстана</a:t>
            </a:r>
          </a:p>
          <a:p>
            <a:pPr algn="ctr"/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227 млн руб.</a:t>
            </a:r>
            <a:endParaRPr lang="ms-MY" sz="1200" dirty="0">
              <a:solidFill>
                <a:schemeClr val="tx1">
                  <a:lumMod val="65000"/>
                  <a:lumOff val="35000"/>
                </a:schemeClr>
              </a:solidFill>
              <a:ea typeface="Open Sans" pitchFamily="34" charset="0"/>
              <a:cs typeface="Open Sans" pitchFamily="34" charset="0"/>
            </a:endParaRPr>
          </a:p>
        </p:txBody>
      </p:sp>
      <p:graphicFrame>
        <p:nvGraphicFramePr>
          <p:cNvPr id="39" name="Диаграмма 38">
            <a:extLst>
              <a:ext uri="{FF2B5EF4-FFF2-40B4-BE49-F238E27FC236}">
                <a16:creationId xmlns:a16="http://schemas.microsoft.com/office/drawing/2014/main" id="{24AC7626-DEA8-4B48-8797-FDD8155068F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12691940"/>
              </p:ext>
            </p:extLst>
          </p:nvPr>
        </p:nvGraphicFramePr>
        <p:xfrm>
          <a:off x="5654454" y="2451680"/>
          <a:ext cx="2964956" cy="28982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cxnSp>
        <p:nvCxnSpPr>
          <p:cNvPr id="54" name="Прямая соединительная линия 53">
            <a:extLst>
              <a:ext uri="{FF2B5EF4-FFF2-40B4-BE49-F238E27FC236}">
                <a16:creationId xmlns:a16="http://schemas.microsoft.com/office/drawing/2014/main" id="{4FC6CC92-51B1-433A-85CC-1FD6EBD1BD64}"/>
              </a:ext>
            </a:extLst>
          </p:cNvPr>
          <p:cNvCxnSpPr>
            <a:cxnSpLocks/>
          </p:cNvCxnSpPr>
          <p:nvPr/>
        </p:nvCxnSpPr>
        <p:spPr>
          <a:xfrm flipH="1">
            <a:off x="5441238" y="2027378"/>
            <a:ext cx="5580000" cy="4991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ysDash"/>
          </a:ln>
          <a:effectLst/>
        </p:spPr>
      </p:cxnSp>
      <p:cxnSp>
        <p:nvCxnSpPr>
          <p:cNvPr id="64" name="Прямая соединительная линия 63">
            <a:extLst>
              <a:ext uri="{FF2B5EF4-FFF2-40B4-BE49-F238E27FC236}">
                <a16:creationId xmlns:a16="http://schemas.microsoft.com/office/drawing/2014/main" id="{1D1E5A0E-7B9D-4A7F-B367-B667A7D08376}"/>
              </a:ext>
            </a:extLst>
          </p:cNvPr>
          <p:cNvCxnSpPr>
            <a:cxnSpLocks/>
          </p:cNvCxnSpPr>
          <p:nvPr/>
        </p:nvCxnSpPr>
        <p:spPr>
          <a:xfrm flipH="1">
            <a:off x="5441238" y="5564041"/>
            <a:ext cx="5580000" cy="4991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ysDash"/>
          </a:ln>
          <a:effectLst/>
        </p:spPr>
      </p:cxnSp>
      <p:sp>
        <p:nvSpPr>
          <p:cNvPr id="30" name="Rectangle 25">
            <a:extLst>
              <a:ext uri="{FF2B5EF4-FFF2-40B4-BE49-F238E27FC236}">
                <a16:creationId xmlns:a16="http://schemas.microsoft.com/office/drawing/2014/main" id="{A6152A14-E82F-45D8-8555-E01CB9CD3B6B}"/>
              </a:ext>
            </a:extLst>
          </p:cNvPr>
          <p:cNvSpPr/>
          <p:nvPr/>
        </p:nvSpPr>
        <p:spPr>
          <a:xfrm>
            <a:off x="5964159" y="5706212"/>
            <a:ext cx="511028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b="1" dirty="0">
                <a:ea typeface="Open Sans" pitchFamily="34" charset="0"/>
                <a:cs typeface="Open Sans" pitchFamily="34" charset="0"/>
              </a:rPr>
              <a:t>В 2022 году Республика Казахстан погасила задолженность </a:t>
            </a:r>
            <a:br>
              <a:rPr lang="ru-RU" sz="1100" b="1" dirty="0">
                <a:ea typeface="Open Sans" pitchFamily="34" charset="0"/>
                <a:cs typeface="Open Sans" pitchFamily="34" charset="0"/>
              </a:rPr>
            </a:br>
            <a:r>
              <a:rPr lang="ru-RU" sz="1100" b="1" dirty="0">
                <a:ea typeface="Open Sans" pitchFamily="34" charset="0"/>
                <a:cs typeface="Open Sans" pitchFamily="34" charset="0"/>
              </a:rPr>
              <a:t>в размере 179 583,30 тыс. российских рублей; </a:t>
            </a:r>
            <a:br>
              <a:rPr lang="ru-RU" sz="1100" b="1" dirty="0">
                <a:ea typeface="Open Sans" pitchFamily="34" charset="0"/>
                <a:cs typeface="Open Sans" pitchFamily="34" charset="0"/>
              </a:rPr>
            </a:br>
            <a:r>
              <a:rPr lang="ru-RU" sz="1100" b="1" dirty="0">
                <a:ea typeface="Open Sans" pitchFamily="34" charset="0"/>
                <a:cs typeface="Open Sans" pitchFamily="34" charset="0"/>
              </a:rPr>
              <a:t>Республика Таджикистан полностью выполнила финансовые обязательства и погасила задолженность.</a:t>
            </a:r>
            <a:endParaRPr lang="ms-MY" sz="1100" b="1" dirty="0"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4" name="Rectangle 25">
            <a:extLst>
              <a:ext uri="{FF2B5EF4-FFF2-40B4-BE49-F238E27FC236}">
                <a16:creationId xmlns:a16="http://schemas.microsoft.com/office/drawing/2014/main" id="{3E72E9D2-D4B7-3FF8-A5F4-84B1F2B09CCD}"/>
              </a:ext>
            </a:extLst>
          </p:cNvPr>
          <p:cNvSpPr/>
          <p:nvPr/>
        </p:nvSpPr>
        <p:spPr>
          <a:xfrm>
            <a:off x="7583335" y="1370941"/>
            <a:ext cx="129580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Задолженность</a:t>
            </a:r>
          </a:p>
          <a:p>
            <a:pPr algn="ctr"/>
            <a:r>
              <a:rPr lang="ru-RU" sz="900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Киргизии</a:t>
            </a:r>
          </a:p>
          <a:p>
            <a:pPr algn="ctr"/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6 млн руб.</a:t>
            </a:r>
            <a:endParaRPr lang="ms-MY" sz="1200" dirty="0">
              <a:solidFill>
                <a:schemeClr val="tx1">
                  <a:lumMod val="65000"/>
                  <a:lumOff val="35000"/>
                </a:schemeClr>
              </a:solidFill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7" name="Rectangle 25">
            <a:extLst>
              <a:ext uri="{FF2B5EF4-FFF2-40B4-BE49-F238E27FC236}">
                <a16:creationId xmlns:a16="http://schemas.microsoft.com/office/drawing/2014/main" id="{E5D7086F-91C2-2CEC-F597-5FA44240897E}"/>
              </a:ext>
            </a:extLst>
          </p:cNvPr>
          <p:cNvSpPr/>
          <p:nvPr/>
        </p:nvSpPr>
        <p:spPr>
          <a:xfrm>
            <a:off x="5635034" y="2135124"/>
            <a:ext cx="502558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chemeClr val="tx2">
                    <a:lumMod val="50000"/>
                  </a:schemeClr>
                </a:solidFill>
                <a:ea typeface="Open Sans" pitchFamily="34" charset="0"/>
                <a:cs typeface="Open Sans" pitchFamily="34" charset="0"/>
              </a:rPr>
              <a:t>Тренд на снижение задолженности, прогноз на 2023 г., млн руб.</a:t>
            </a:r>
            <a:endParaRPr lang="ms-MY" sz="1000" b="1" dirty="0">
              <a:solidFill>
                <a:schemeClr val="tx2">
                  <a:lumMod val="50000"/>
                </a:schemeClr>
              </a:solidFill>
              <a:ea typeface="Open Sans" pitchFamily="34" charset="0"/>
              <a:cs typeface="Open Sans" pitchFamily="34" charset="0"/>
            </a:endParaRPr>
          </a:p>
        </p:txBody>
      </p:sp>
      <p:cxnSp>
        <p:nvCxnSpPr>
          <p:cNvPr id="16" name="直接连接符 38">
            <a:extLst>
              <a:ext uri="{FF2B5EF4-FFF2-40B4-BE49-F238E27FC236}">
                <a16:creationId xmlns:a16="http://schemas.microsoft.com/office/drawing/2014/main" id="{6A12A35B-DC48-E11F-1B30-8998C5669088}"/>
              </a:ext>
            </a:extLst>
          </p:cNvPr>
          <p:cNvCxnSpPr>
            <a:cxnSpLocks/>
          </p:cNvCxnSpPr>
          <p:nvPr/>
        </p:nvCxnSpPr>
        <p:spPr>
          <a:xfrm flipV="1">
            <a:off x="8210823" y="1228967"/>
            <a:ext cx="0" cy="134203"/>
          </a:xfrm>
          <a:prstGeom prst="line">
            <a:avLst/>
          </a:prstGeom>
          <a:noFill/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6" name="直接连接符 38">
            <a:extLst>
              <a:ext uri="{FF2B5EF4-FFF2-40B4-BE49-F238E27FC236}">
                <a16:creationId xmlns:a16="http://schemas.microsoft.com/office/drawing/2014/main" id="{5B4965A6-416F-FC9F-D265-63BA62C8C1C9}"/>
              </a:ext>
            </a:extLst>
          </p:cNvPr>
          <p:cNvCxnSpPr>
            <a:cxnSpLocks/>
          </p:cNvCxnSpPr>
          <p:nvPr/>
        </p:nvCxnSpPr>
        <p:spPr>
          <a:xfrm flipV="1">
            <a:off x="9466404" y="1206013"/>
            <a:ext cx="0" cy="134203"/>
          </a:xfrm>
          <a:prstGeom prst="line">
            <a:avLst/>
          </a:prstGeom>
          <a:noFill/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aphicFrame>
        <p:nvGraphicFramePr>
          <p:cNvPr id="32" name="Диаграмма 31">
            <a:extLst>
              <a:ext uri="{FF2B5EF4-FFF2-40B4-BE49-F238E27FC236}">
                <a16:creationId xmlns:a16="http://schemas.microsoft.com/office/drawing/2014/main" id="{453CC485-27A6-BBB0-28E0-00CD939C5BF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55926130"/>
              </p:ext>
            </p:extLst>
          </p:nvPr>
        </p:nvGraphicFramePr>
        <p:xfrm>
          <a:off x="8859967" y="2462260"/>
          <a:ext cx="2038395" cy="14223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34" name="Диаграмма 33">
            <a:extLst>
              <a:ext uri="{FF2B5EF4-FFF2-40B4-BE49-F238E27FC236}">
                <a16:creationId xmlns:a16="http://schemas.microsoft.com/office/drawing/2014/main" id="{CF05BD1F-DD19-AC78-A77A-9FD48262E26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33398729"/>
              </p:ext>
            </p:extLst>
          </p:nvPr>
        </p:nvGraphicFramePr>
        <p:xfrm>
          <a:off x="8859966" y="3972425"/>
          <a:ext cx="2038395" cy="13821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pSp>
        <p:nvGrpSpPr>
          <p:cNvPr id="55" name="Группа 54">
            <a:extLst>
              <a:ext uri="{FF2B5EF4-FFF2-40B4-BE49-F238E27FC236}">
                <a16:creationId xmlns:a16="http://schemas.microsoft.com/office/drawing/2014/main" id="{0E8C24CF-92D5-542B-A76F-F7030D4DEF37}"/>
              </a:ext>
            </a:extLst>
          </p:cNvPr>
          <p:cNvGrpSpPr/>
          <p:nvPr/>
        </p:nvGrpSpPr>
        <p:grpSpPr>
          <a:xfrm>
            <a:off x="5656656" y="5835131"/>
            <a:ext cx="432000" cy="432000"/>
            <a:chOff x="2049691" y="4628105"/>
            <a:chExt cx="432000" cy="432000"/>
          </a:xfrm>
        </p:grpSpPr>
        <p:sp>
          <p:nvSpPr>
            <p:cNvPr id="56" name="Овал 55">
              <a:extLst>
                <a:ext uri="{FF2B5EF4-FFF2-40B4-BE49-F238E27FC236}">
                  <a16:creationId xmlns:a16="http://schemas.microsoft.com/office/drawing/2014/main" id="{DD7D1857-2284-E3E7-F6D4-A2BB10E2DFF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49691" y="4628105"/>
              <a:ext cx="432000" cy="43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7" name="Рисунок 77">
              <a:extLst>
                <a:ext uri="{FF2B5EF4-FFF2-40B4-BE49-F238E27FC236}">
                  <a16:creationId xmlns:a16="http://schemas.microsoft.com/office/drawing/2014/main" id="{01C861BD-21A0-D8E0-5E2D-42266D1D5B76}"/>
                </a:ext>
              </a:extLst>
            </p:cNvPr>
            <p:cNvSpPr/>
            <p:nvPr/>
          </p:nvSpPr>
          <p:spPr>
            <a:xfrm>
              <a:off x="2085691" y="4664105"/>
              <a:ext cx="359999" cy="360000"/>
            </a:xfrm>
            <a:custGeom>
              <a:avLst/>
              <a:gdLst>
                <a:gd name="connsiteX0" fmla="*/ 180000 w 359999"/>
                <a:gd name="connsiteY0" fmla="*/ 0 h 360000"/>
                <a:gd name="connsiteX1" fmla="*/ 0 w 359999"/>
                <a:gd name="connsiteY1" fmla="*/ 180000 h 360000"/>
                <a:gd name="connsiteX2" fmla="*/ 180000 w 359999"/>
                <a:gd name="connsiteY2" fmla="*/ 360000 h 360000"/>
                <a:gd name="connsiteX3" fmla="*/ 360000 w 359999"/>
                <a:gd name="connsiteY3" fmla="*/ 180000 h 360000"/>
                <a:gd name="connsiteX4" fmla="*/ 180000 w 359999"/>
                <a:gd name="connsiteY4" fmla="*/ 0 h 360000"/>
                <a:gd name="connsiteX5" fmla="*/ 169925 w 359999"/>
                <a:gd name="connsiteY5" fmla="*/ 62718 h 360000"/>
                <a:gd name="connsiteX6" fmla="*/ 180000 w 359999"/>
                <a:gd name="connsiteY6" fmla="*/ 52643 h 360000"/>
                <a:gd name="connsiteX7" fmla="*/ 190075 w 359999"/>
                <a:gd name="connsiteY7" fmla="*/ 62718 h 360000"/>
                <a:gd name="connsiteX8" fmla="*/ 190075 w 359999"/>
                <a:gd name="connsiteY8" fmla="*/ 233409 h 360000"/>
                <a:gd name="connsiteX9" fmla="*/ 180000 w 359999"/>
                <a:gd name="connsiteY9" fmla="*/ 243484 h 360000"/>
                <a:gd name="connsiteX10" fmla="*/ 169925 w 359999"/>
                <a:gd name="connsiteY10" fmla="*/ 233409 h 360000"/>
                <a:gd name="connsiteX11" fmla="*/ 180000 w 359999"/>
                <a:gd name="connsiteY11" fmla="*/ 307007 h 360000"/>
                <a:gd name="connsiteX12" fmla="*/ 169455 w 359999"/>
                <a:gd name="connsiteY12" fmla="*/ 296463 h 360000"/>
                <a:gd name="connsiteX13" fmla="*/ 180000 w 359999"/>
                <a:gd name="connsiteY13" fmla="*/ 285918 h 360000"/>
                <a:gd name="connsiteX14" fmla="*/ 190545 w 359999"/>
                <a:gd name="connsiteY14" fmla="*/ 296463 h 360000"/>
                <a:gd name="connsiteX15" fmla="*/ 180000 w 359999"/>
                <a:gd name="connsiteY15" fmla="*/ 307007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9999" h="360000">
                  <a:moveTo>
                    <a:pt x="180000" y="0"/>
                  </a:moveTo>
                  <a:cubicBezTo>
                    <a:pt x="80589" y="0"/>
                    <a:pt x="0" y="80589"/>
                    <a:pt x="0" y="180000"/>
                  </a:cubicBezTo>
                  <a:cubicBezTo>
                    <a:pt x="0" y="279411"/>
                    <a:pt x="80589" y="360000"/>
                    <a:pt x="180000" y="360000"/>
                  </a:cubicBezTo>
                  <a:cubicBezTo>
                    <a:pt x="279411" y="360000"/>
                    <a:pt x="360000" y="279411"/>
                    <a:pt x="360000" y="180000"/>
                  </a:cubicBezTo>
                  <a:cubicBezTo>
                    <a:pt x="360000" y="80589"/>
                    <a:pt x="279411" y="0"/>
                    <a:pt x="180000" y="0"/>
                  </a:cubicBezTo>
                  <a:close/>
                  <a:moveTo>
                    <a:pt x="169925" y="62718"/>
                  </a:moveTo>
                  <a:cubicBezTo>
                    <a:pt x="169925" y="57154"/>
                    <a:pt x="174436" y="52643"/>
                    <a:pt x="180000" y="52643"/>
                  </a:cubicBezTo>
                  <a:cubicBezTo>
                    <a:pt x="185564" y="52643"/>
                    <a:pt x="190075" y="57154"/>
                    <a:pt x="190075" y="62718"/>
                  </a:cubicBezTo>
                  <a:lnTo>
                    <a:pt x="190075" y="233409"/>
                  </a:lnTo>
                  <a:cubicBezTo>
                    <a:pt x="190075" y="238973"/>
                    <a:pt x="185564" y="243484"/>
                    <a:pt x="180000" y="243484"/>
                  </a:cubicBezTo>
                  <a:cubicBezTo>
                    <a:pt x="174436" y="243484"/>
                    <a:pt x="169925" y="238973"/>
                    <a:pt x="169925" y="233409"/>
                  </a:cubicBezTo>
                  <a:close/>
                  <a:moveTo>
                    <a:pt x="180000" y="307007"/>
                  </a:moveTo>
                  <a:cubicBezTo>
                    <a:pt x="174177" y="307007"/>
                    <a:pt x="169455" y="302286"/>
                    <a:pt x="169455" y="296463"/>
                  </a:cubicBezTo>
                  <a:cubicBezTo>
                    <a:pt x="169455" y="290640"/>
                    <a:pt x="174177" y="285918"/>
                    <a:pt x="180000" y="285918"/>
                  </a:cubicBezTo>
                  <a:cubicBezTo>
                    <a:pt x="185823" y="285918"/>
                    <a:pt x="190545" y="290640"/>
                    <a:pt x="190545" y="296463"/>
                  </a:cubicBezTo>
                  <a:cubicBezTo>
                    <a:pt x="190545" y="302286"/>
                    <a:pt x="185823" y="307007"/>
                    <a:pt x="180000" y="307007"/>
                  </a:cubicBezTo>
                  <a:close/>
                </a:path>
              </a:pathLst>
            </a:custGeom>
            <a:solidFill>
              <a:schemeClr val="bg2"/>
            </a:solidFill>
            <a:ln w="13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76" name="Полилиния 75">
            <a:extLst>
              <a:ext uri="{FF2B5EF4-FFF2-40B4-BE49-F238E27FC236}">
                <a16:creationId xmlns:a16="http://schemas.microsoft.com/office/drawing/2014/main" id="{F3399F15-2272-D43C-AD76-0695536878C1}"/>
              </a:ext>
            </a:extLst>
          </p:cNvPr>
          <p:cNvSpPr/>
          <p:nvPr/>
        </p:nvSpPr>
        <p:spPr>
          <a:xfrm>
            <a:off x="10898361" y="145338"/>
            <a:ext cx="720000" cy="720000"/>
          </a:xfrm>
          <a:custGeom>
            <a:avLst/>
            <a:gdLst>
              <a:gd name="connsiteX0" fmla="*/ 70469 w 360606"/>
              <a:gd name="connsiteY0" fmla="*/ 240819 h 360583"/>
              <a:gd name="connsiteX1" fmla="*/ 176281 w 360606"/>
              <a:gd name="connsiteY1" fmla="*/ 247815 h 360583"/>
              <a:gd name="connsiteX2" fmla="*/ 225231 w 360606"/>
              <a:gd name="connsiteY2" fmla="*/ 252840 h 360583"/>
              <a:gd name="connsiteX3" fmla="*/ 201443 w 360606"/>
              <a:gd name="connsiteY3" fmla="*/ 359403 h 360583"/>
              <a:gd name="connsiteX4" fmla="*/ 110158 w 360606"/>
              <a:gd name="connsiteY4" fmla="*/ 346288 h 360583"/>
              <a:gd name="connsiteX5" fmla="*/ 70469 w 360606"/>
              <a:gd name="connsiteY5" fmla="*/ 240819 h 360583"/>
              <a:gd name="connsiteX6" fmla="*/ 360606 w 360606"/>
              <a:gd name="connsiteY6" fmla="*/ 195902 h 360583"/>
              <a:gd name="connsiteX7" fmla="*/ 337123 w 360606"/>
              <a:gd name="connsiteY7" fmla="*/ 270459 h 360583"/>
              <a:gd name="connsiteX8" fmla="*/ 210818 w 360606"/>
              <a:gd name="connsiteY8" fmla="*/ 358016 h 360583"/>
              <a:gd name="connsiteX9" fmla="*/ 233067 w 360606"/>
              <a:gd name="connsiteY9" fmla="*/ 258094 h 360583"/>
              <a:gd name="connsiteX10" fmla="*/ 287766 w 360606"/>
              <a:gd name="connsiteY10" fmla="*/ 253807 h 360583"/>
              <a:gd name="connsiteX11" fmla="*/ 360606 w 360606"/>
              <a:gd name="connsiteY11" fmla="*/ 195902 h 360583"/>
              <a:gd name="connsiteX12" fmla="*/ 180300 w 360606"/>
              <a:gd name="connsiteY12" fmla="*/ 142474 h 360583"/>
              <a:gd name="connsiteX13" fmla="*/ 180351 w 360606"/>
              <a:gd name="connsiteY13" fmla="*/ 142474 h 360583"/>
              <a:gd name="connsiteX14" fmla="*/ 218183 w 360606"/>
              <a:gd name="connsiteY14" fmla="*/ 180331 h 360583"/>
              <a:gd name="connsiteX15" fmla="*/ 180326 w 360606"/>
              <a:gd name="connsiteY15" fmla="*/ 218214 h 360583"/>
              <a:gd name="connsiteX16" fmla="*/ 142443 w 360606"/>
              <a:gd name="connsiteY16" fmla="*/ 180357 h 360583"/>
              <a:gd name="connsiteX17" fmla="*/ 180300 w 360606"/>
              <a:gd name="connsiteY17" fmla="*/ 142474 h 360583"/>
              <a:gd name="connsiteX18" fmla="*/ 11355 w 360606"/>
              <a:gd name="connsiteY18" fmla="*/ 117528 h 360583"/>
              <a:gd name="connsiteX19" fmla="*/ 86930 w 360606"/>
              <a:gd name="connsiteY19" fmla="*/ 186729 h 360583"/>
              <a:gd name="connsiteX20" fmla="*/ 63282 w 360606"/>
              <a:gd name="connsiteY20" fmla="*/ 236150 h 360583"/>
              <a:gd name="connsiteX21" fmla="*/ 77084 w 360606"/>
              <a:gd name="connsiteY21" fmla="*/ 328083 h 360583"/>
              <a:gd name="connsiteX22" fmla="*/ 24191 w 360606"/>
              <a:gd name="connsiteY22" fmla="*/ 270433 h 360583"/>
              <a:gd name="connsiteX23" fmla="*/ 11355 w 360606"/>
              <a:gd name="connsiteY23" fmla="*/ 117528 h 360583"/>
              <a:gd name="connsiteX24" fmla="*/ 325674 w 360606"/>
              <a:gd name="connsiteY24" fmla="*/ 72764 h 360583"/>
              <a:gd name="connsiteX25" fmla="*/ 359893 w 360606"/>
              <a:gd name="connsiteY25" fmla="*/ 158261 h 360583"/>
              <a:gd name="connsiteX26" fmla="*/ 288313 w 360606"/>
              <a:gd name="connsiteY26" fmla="*/ 245297 h 360583"/>
              <a:gd name="connsiteX27" fmla="*/ 241475 w 360606"/>
              <a:gd name="connsiteY27" fmla="*/ 150323 h 360583"/>
              <a:gd name="connsiteX28" fmla="*/ 221363 w 360606"/>
              <a:gd name="connsiteY28" fmla="*/ 105482 h 360583"/>
              <a:gd name="connsiteX29" fmla="*/ 325674 w 360606"/>
              <a:gd name="connsiteY29" fmla="*/ 72764 h 360583"/>
              <a:gd name="connsiteX30" fmla="*/ 100647 w 360606"/>
              <a:gd name="connsiteY30" fmla="*/ 25566 h 360583"/>
              <a:gd name="connsiteX31" fmla="*/ 183226 w 360606"/>
              <a:gd name="connsiteY31" fmla="*/ 54777 h 360583"/>
              <a:gd name="connsiteX32" fmla="*/ 124265 w 360606"/>
              <a:gd name="connsiteY32" fmla="*/ 142754 h 360583"/>
              <a:gd name="connsiteX33" fmla="*/ 95427 w 360606"/>
              <a:gd name="connsiteY33" fmla="*/ 182570 h 360583"/>
              <a:gd name="connsiteX34" fmla="*/ 14891 w 360606"/>
              <a:gd name="connsiteY34" fmla="*/ 108726 h 360583"/>
              <a:gd name="connsiteX35" fmla="*/ 71919 w 360606"/>
              <a:gd name="connsiteY35" fmla="*/ 36357 h 360583"/>
              <a:gd name="connsiteX36" fmla="*/ 100647 w 360606"/>
              <a:gd name="connsiteY36" fmla="*/ 25566 h 360583"/>
              <a:gd name="connsiteX37" fmla="*/ 180656 w 360606"/>
              <a:gd name="connsiteY37" fmla="*/ 0 h 360583"/>
              <a:gd name="connsiteX38" fmla="*/ 319746 w 360606"/>
              <a:gd name="connsiteY38" fmla="*/ 65309 h 360583"/>
              <a:gd name="connsiteX39" fmla="*/ 221897 w 360606"/>
              <a:gd name="connsiteY39" fmla="*/ 96055 h 360583"/>
              <a:gd name="connsiteX40" fmla="*/ 190846 w 360606"/>
              <a:gd name="connsiteY40" fmla="*/ 50934 h 360583"/>
              <a:gd name="connsiteX41" fmla="*/ 104204 w 360606"/>
              <a:gd name="connsiteY41" fmla="*/ 16906 h 360583"/>
              <a:gd name="connsiteX42" fmla="*/ 180656 w 360606"/>
              <a:gd name="connsiteY42" fmla="*/ 0 h 360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360606" h="360583">
                <a:moveTo>
                  <a:pt x="70469" y="240819"/>
                </a:moveTo>
                <a:cubicBezTo>
                  <a:pt x="97539" y="256199"/>
                  <a:pt x="138691" y="256364"/>
                  <a:pt x="176281" y="247815"/>
                </a:cubicBezTo>
                <a:cubicBezTo>
                  <a:pt x="206951" y="240819"/>
                  <a:pt x="220384" y="248490"/>
                  <a:pt x="225231" y="252840"/>
                </a:cubicBezTo>
                <a:cubicBezTo>
                  <a:pt x="187348" y="298444"/>
                  <a:pt x="197143" y="344583"/>
                  <a:pt x="201443" y="359403"/>
                </a:cubicBezTo>
                <a:cubicBezTo>
                  <a:pt x="170392" y="362961"/>
                  <a:pt x="138950" y="358442"/>
                  <a:pt x="110158" y="346288"/>
                </a:cubicBezTo>
                <a:cubicBezTo>
                  <a:pt x="71982" y="325934"/>
                  <a:pt x="60381" y="280775"/>
                  <a:pt x="70469" y="240819"/>
                </a:cubicBezTo>
                <a:close/>
                <a:moveTo>
                  <a:pt x="360606" y="195902"/>
                </a:moveTo>
                <a:cubicBezTo>
                  <a:pt x="358360" y="222179"/>
                  <a:pt x="350340" y="247636"/>
                  <a:pt x="337123" y="270459"/>
                </a:cubicBezTo>
                <a:cubicBezTo>
                  <a:pt x="310202" y="317035"/>
                  <a:pt x="263879" y="349148"/>
                  <a:pt x="210818" y="358016"/>
                </a:cubicBezTo>
                <a:cubicBezTo>
                  <a:pt x="204725" y="339012"/>
                  <a:pt x="200145" y="297033"/>
                  <a:pt x="233067" y="258094"/>
                </a:cubicBezTo>
                <a:cubicBezTo>
                  <a:pt x="253420" y="259583"/>
                  <a:pt x="271700" y="258196"/>
                  <a:pt x="287766" y="253807"/>
                </a:cubicBezTo>
                <a:cubicBezTo>
                  <a:pt x="320357" y="245284"/>
                  <a:pt x="347885" y="224193"/>
                  <a:pt x="360606" y="195902"/>
                </a:cubicBezTo>
                <a:close/>
                <a:moveTo>
                  <a:pt x="180300" y="142474"/>
                </a:moveTo>
                <a:cubicBezTo>
                  <a:pt x="180317" y="142474"/>
                  <a:pt x="180335" y="142474"/>
                  <a:pt x="180351" y="142474"/>
                </a:cubicBezTo>
                <a:cubicBezTo>
                  <a:pt x="201249" y="142488"/>
                  <a:pt x="218183" y="159433"/>
                  <a:pt x="218183" y="180331"/>
                </a:cubicBezTo>
                <a:cubicBezTo>
                  <a:pt x="218191" y="201247"/>
                  <a:pt x="201241" y="218206"/>
                  <a:pt x="180326" y="218214"/>
                </a:cubicBezTo>
                <a:cubicBezTo>
                  <a:pt x="159410" y="218220"/>
                  <a:pt x="142451" y="201271"/>
                  <a:pt x="142443" y="180357"/>
                </a:cubicBezTo>
                <a:cubicBezTo>
                  <a:pt x="142435" y="159441"/>
                  <a:pt x="159386" y="142482"/>
                  <a:pt x="180300" y="142474"/>
                </a:cubicBezTo>
                <a:close/>
                <a:moveTo>
                  <a:pt x="11355" y="117528"/>
                </a:moveTo>
                <a:cubicBezTo>
                  <a:pt x="30958" y="121777"/>
                  <a:pt x="69604" y="138797"/>
                  <a:pt x="86930" y="186729"/>
                </a:cubicBezTo>
                <a:cubicBezTo>
                  <a:pt x="75507" y="203534"/>
                  <a:pt x="67531" y="220071"/>
                  <a:pt x="63282" y="236150"/>
                </a:cubicBezTo>
                <a:cubicBezTo>
                  <a:pt x="54390" y="268588"/>
                  <a:pt x="58880" y="302973"/>
                  <a:pt x="77084" y="328083"/>
                </a:cubicBezTo>
                <a:cubicBezTo>
                  <a:pt x="55436" y="312981"/>
                  <a:pt x="37377" y="293298"/>
                  <a:pt x="24191" y="270433"/>
                </a:cubicBezTo>
                <a:cubicBezTo>
                  <a:pt x="-2731" y="223946"/>
                  <a:pt x="-7440" y="167852"/>
                  <a:pt x="11355" y="117528"/>
                </a:cubicBezTo>
                <a:close/>
                <a:moveTo>
                  <a:pt x="325674" y="72764"/>
                </a:moveTo>
                <a:cubicBezTo>
                  <a:pt x="344271" y="97831"/>
                  <a:pt x="356060" y="127286"/>
                  <a:pt x="359893" y="158261"/>
                </a:cubicBezTo>
                <a:cubicBezTo>
                  <a:pt x="361292" y="201435"/>
                  <a:pt x="327964" y="234064"/>
                  <a:pt x="288313" y="245297"/>
                </a:cubicBezTo>
                <a:cubicBezTo>
                  <a:pt x="288122" y="214207"/>
                  <a:pt x="267692" y="178551"/>
                  <a:pt x="241475" y="150323"/>
                </a:cubicBezTo>
                <a:cubicBezTo>
                  <a:pt x="220091" y="127298"/>
                  <a:pt x="220015" y="111842"/>
                  <a:pt x="221363" y="105482"/>
                </a:cubicBezTo>
                <a:cubicBezTo>
                  <a:pt x="279879" y="115442"/>
                  <a:pt x="314963" y="83895"/>
                  <a:pt x="325674" y="72764"/>
                </a:cubicBezTo>
                <a:close/>
                <a:moveTo>
                  <a:pt x="100647" y="25566"/>
                </a:moveTo>
                <a:cubicBezTo>
                  <a:pt x="130180" y="20809"/>
                  <a:pt x="161025" y="33253"/>
                  <a:pt x="183226" y="54777"/>
                </a:cubicBezTo>
                <a:cubicBezTo>
                  <a:pt x="156360" y="70487"/>
                  <a:pt x="135637" y="105978"/>
                  <a:pt x="124265" y="142754"/>
                </a:cubicBezTo>
                <a:cubicBezTo>
                  <a:pt x="114991" y="172775"/>
                  <a:pt x="101622" y="180548"/>
                  <a:pt x="95427" y="182570"/>
                </a:cubicBezTo>
                <a:cubicBezTo>
                  <a:pt x="74819" y="127006"/>
                  <a:pt x="29889" y="112415"/>
                  <a:pt x="14891" y="108726"/>
                </a:cubicBezTo>
                <a:cubicBezTo>
                  <a:pt x="27329" y="80081"/>
                  <a:pt x="46977" y="55148"/>
                  <a:pt x="71919" y="36357"/>
                </a:cubicBezTo>
                <a:cubicBezTo>
                  <a:pt x="81103" y="30648"/>
                  <a:pt x="90802" y="27152"/>
                  <a:pt x="100647" y="25566"/>
                </a:cubicBezTo>
                <a:close/>
                <a:moveTo>
                  <a:pt x="180656" y="0"/>
                </a:moveTo>
                <a:cubicBezTo>
                  <a:pt x="234439" y="-61"/>
                  <a:pt x="285442" y="23887"/>
                  <a:pt x="319746" y="65309"/>
                </a:cubicBezTo>
                <a:cubicBezTo>
                  <a:pt x="306300" y="80141"/>
                  <a:pt x="272246" y="105036"/>
                  <a:pt x="221897" y="96055"/>
                </a:cubicBezTo>
                <a:cubicBezTo>
                  <a:pt x="213069" y="77801"/>
                  <a:pt x="202689" y="62638"/>
                  <a:pt x="190846" y="50934"/>
                </a:cubicBezTo>
                <a:cubicBezTo>
                  <a:pt x="167159" y="27083"/>
                  <a:pt x="135090" y="13726"/>
                  <a:pt x="104204" y="16906"/>
                </a:cubicBezTo>
                <a:cubicBezTo>
                  <a:pt x="128142" y="5738"/>
                  <a:pt x="154241" y="-34"/>
                  <a:pt x="180656" y="0"/>
                </a:cubicBezTo>
                <a:close/>
              </a:path>
            </a:pathLst>
          </a:custGeom>
          <a:solidFill>
            <a:schemeClr val="accent2"/>
          </a:solidFill>
          <a:ln w="124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77" name="TextBox 76"/>
          <p:cNvSpPr txBox="1"/>
          <p:nvPr/>
        </p:nvSpPr>
        <p:spPr>
          <a:xfrm>
            <a:off x="10703092" y="886244"/>
            <a:ext cx="119131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500" b="1" dirty="0"/>
              <a:t>РОС</a:t>
            </a:r>
            <a:r>
              <a:rPr lang="ru-RU" sz="1500" dirty="0"/>
              <a:t>АТОМ</a:t>
            </a:r>
          </a:p>
        </p:txBody>
      </p:sp>
      <p:sp>
        <p:nvSpPr>
          <p:cNvPr id="78" name="Rectangle 25">
            <a:extLst>
              <a:ext uri="{FF2B5EF4-FFF2-40B4-BE49-F238E27FC236}">
                <a16:creationId xmlns:a16="http://schemas.microsoft.com/office/drawing/2014/main" id="{B2591F47-589F-285F-8F71-DB566649529E}"/>
              </a:ext>
            </a:extLst>
          </p:cNvPr>
          <p:cNvSpPr/>
          <p:nvPr/>
        </p:nvSpPr>
        <p:spPr>
          <a:xfrm>
            <a:off x="9719556" y="3677252"/>
            <a:ext cx="1295806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Киргизия</a:t>
            </a:r>
          </a:p>
        </p:txBody>
      </p:sp>
      <p:sp>
        <p:nvSpPr>
          <p:cNvPr id="79" name="Rectangle 25">
            <a:extLst>
              <a:ext uri="{FF2B5EF4-FFF2-40B4-BE49-F238E27FC236}">
                <a16:creationId xmlns:a16="http://schemas.microsoft.com/office/drawing/2014/main" id="{56EBBA98-089F-7187-1094-ECA3DE366D7B}"/>
              </a:ext>
            </a:extLst>
          </p:cNvPr>
          <p:cNvSpPr/>
          <p:nvPr/>
        </p:nvSpPr>
        <p:spPr>
          <a:xfrm>
            <a:off x="9744681" y="5042876"/>
            <a:ext cx="1295806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Таджикистан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CBD0B8BC-BA66-340C-EBE8-34781A0EA4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1466" y="3508138"/>
            <a:ext cx="3413419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eaLnBrk="1" hangingPunct="1"/>
            <a:r>
              <a:rPr lang="ru-RU" altLang="ru-RU" sz="1100" b="1" dirty="0">
                <a:solidFill>
                  <a:schemeClr val="accent1">
                    <a:lumMod val="50000"/>
                  </a:schemeClr>
                </a:solidFill>
                <a:cs typeface="Quire Sans" panose="020B0502040400020003" pitchFamily="34" charset="0"/>
              </a:rPr>
              <a:t>Программа</a:t>
            </a:r>
          </a:p>
        </p:txBody>
      </p:sp>
      <p:sp>
        <p:nvSpPr>
          <p:cNvPr id="3" name="Овал 2">
            <a:extLst>
              <a:ext uri="{FF2B5EF4-FFF2-40B4-BE49-F238E27FC236}">
                <a16:creationId xmlns:a16="http://schemas.microsoft.com/office/drawing/2014/main" id="{73AD3CEE-9E95-0E51-964E-FCEE662CECF8}"/>
              </a:ext>
            </a:extLst>
          </p:cNvPr>
          <p:cNvSpPr/>
          <p:nvPr/>
        </p:nvSpPr>
        <p:spPr>
          <a:xfrm>
            <a:off x="6915733" y="1080732"/>
            <a:ext cx="162000" cy="162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333333"/>
              </a:solidFill>
            </a:endParaRPr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29F521CF-65CA-7D0A-F7DA-22708CCAE879}"/>
              </a:ext>
            </a:extLst>
          </p:cNvPr>
          <p:cNvSpPr/>
          <p:nvPr/>
        </p:nvSpPr>
        <p:spPr>
          <a:xfrm>
            <a:off x="9380311" y="1104790"/>
            <a:ext cx="162000" cy="162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333333"/>
              </a:solidFill>
            </a:endParaRPr>
          </a:p>
        </p:txBody>
      </p:sp>
      <p:sp>
        <p:nvSpPr>
          <p:cNvPr id="6" name="Овал 5">
            <a:extLst>
              <a:ext uri="{FF2B5EF4-FFF2-40B4-BE49-F238E27FC236}">
                <a16:creationId xmlns:a16="http://schemas.microsoft.com/office/drawing/2014/main" id="{11DBDE5A-8CBA-09DD-9DC4-5060DD6D4182}"/>
              </a:ext>
            </a:extLst>
          </p:cNvPr>
          <p:cNvSpPr/>
          <p:nvPr/>
        </p:nvSpPr>
        <p:spPr>
          <a:xfrm>
            <a:off x="8129823" y="1089253"/>
            <a:ext cx="162000" cy="162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333333"/>
              </a:solidFill>
            </a:endParaRPr>
          </a:p>
        </p:txBody>
      </p:sp>
      <p:sp>
        <p:nvSpPr>
          <p:cNvPr id="13" name="Рисунок 82">
            <a:extLst>
              <a:ext uri="{FF2B5EF4-FFF2-40B4-BE49-F238E27FC236}">
                <a16:creationId xmlns:a16="http://schemas.microsoft.com/office/drawing/2014/main" id="{03EDF67E-B3B5-8196-531D-257336B26433}"/>
              </a:ext>
            </a:extLst>
          </p:cNvPr>
          <p:cNvSpPr/>
          <p:nvPr/>
        </p:nvSpPr>
        <p:spPr>
          <a:xfrm rot="16200000">
            <a:off x="8017761" y="1913502"/>
            <a:ext cx="224124" cy="245448"/>
          </a:xfrm>
          <a:custGeom>
            <a:avLst/>
            <a:gdLst>
              <a:gd name="connsiteX0" fmla="*/ 180000 w 359999"/>
              <a:gd name="connsiteY0" fmla="*/ 0 h 360000"/>
              <a:gd name="connsiteX1" fmla="*/ 0 w 359999"/>
              <a:gd name="connsiteY1" fmla="*/ 180000 h 360000"/>
              <a:gd name="connsiteX2" fmla="*/ 180000 w 359999"/>
              <a:gd name="connsiteY2" fmla="*/ 360000 h 360000"/>
              <a:gd name="connsiteX3" fmla="*/ 360000 w 359999"/>
              <a:gd name="connsiteY3" fmla="*/ 180000 h 360000"/>
              <a:gd name="connsiteX4" fmla="*/ 180000 w 359999"/>
              <a:gd name="connsiteY4" fmla="*/ 0 h 360000"/>
              <a:gd name="connsiteX5" fmla="*/ 222381 w 359999"/>
              <a:gd name="connsiteY5" fmla="*/ 271612 h 360000"/>
              <a:gd name="connsiteX6" fmla="*/ 223513 w 359999"/>
              <a:gd name="connsiteY6" fmla="*/ 285814 h 360000"/>
              <a:gd name="connsiteX7" fmla="*/ 209310 w 359999"/>
              <a:gd name="connsiteY7" fmla="*/ 286947 h 360000"/>
              <a:gd name="connsiteX8" fmla="*/ 208209 w 359999"/>
              <a:gd name="connsiteY8" fmla="*/ 285851 h 360000"/>
              <a:gd name="connsiteX9" fmla="*/ 109478 w 359999"/>
              <a:gd name="connsiteY9" fmla="*/ 187119 h 360000"/>
              <a:gd name="connsiteX10" fmla="*/ 109468 w 359999"/>
              <a:gd name="connsiteY10" fmla="*/ 172891 h 360000"/>
              <a:gd name="connsiteX11" fmla="*/ 109478 w 359999"/>
              <a:gd name="connsiteY11" fmla="*/ 172881 h 360000"/>
              <a:gd name="connsiteX12" fmla="*/ 208209 w 359999"/>
              <a:gd name="connsiteY12" fmla="*/ 74149 h 360000"/>
              <a:gd name="connsiteX13" fmla="*/ 222448 w 359999"/>
              <a:gd name="connsiteY13" fmla="*/ 74652 h 360000"/>
              <a:gd name="connsiteX14" fmla="*/ 222448 w 359999"/>
              <a:gd name="connsiteY14" fmla="*/ 88388 h 360000"/>
              <a:gd name="connsiteX15" fmla="*/ 130769 w 359999"/>
              <a:gd name="connsiteY15" fmla="*/ 180000 h 3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59999" h="360000">
                <a:moveTo>
                  <a:pt x="180000" y="0"/>
                </a:moveTo>
                <a:cubicBezTo>
                  <a:pt x="80589" y="0"/>
                  <a:pt x="0" y="80589"/>
                  <a:pt x="0" y="180000"/>
                </a:cubicBezTo>
                <a:cubicBezTo>
                  <a:pt x="0" y="279411"/>
                  <a:pt x="80589" y="360000"/>
                  <a:pt x="180000" y="360000"/>
                </a:cubicBezTo>
                <a:cubicBezTo>
                  <a:pt x="279411" y="360000"/>
                  <a:pt x="360000" y="279411"/>
                  <a:pt x="360000" y="180000"/>
                </a:cubicBezTo>
                <a:cubicBezTo>
                  <a:pt x="360000" y="80589"/>
                  <a:pt x="279411" y="0"/>
                  <a:pt x="180000" y="0"/>
                </a:cubicBezTo>
                <a:close/>
                <a:moveTo>
                  <a:pt x="222381" y="271612"/>
                </a:moveTo>
                <a:cubicBezTo>
                  <a:pt x="226615" y="275221"/>
                  <a:pt x="227122" y="281580"/>
                  <a:pt x="223513" y="285814"/>
                </a:cubicBezTo>
                <a:cubicBezTo>
                  <a:pt x="219904" y="290049"/>
                  <a:pt x="213544" y="290556"/>
                  <a:pt x="209310" y="286947"/>
                </a:cubicBezTo>
                <a:cubicBezTo>
                  <a:pt x="208916" y="286610"/>
                  <a:pt x="208547" y="286244"/>
                  <a:pt x="208209" y="285851"/>
                </a:cubicBezTo>
                <a:lnTo>
                  <a:pt x="109478" y="187119"/>
                </a:lnTo>
                <a:cubicBezTo>
                  <a:pt x="105546" y="183193"/>
                  <a:pt x="105541" y="176823"/>
                  <a:pt x="109468" y="172891"/>
                </a:cubicBezTo>
                <a:cubicBezTo>
                  <a:pt x="109471" y="172887"/>
                  <a:pt x="109474" y="172885"/>
                  <a:pt x="109478" y="172881"/>
                </a:cubicBezTo>
                <a:lnTo>
                  <a:pt x="208209" y="74149"/>
                </a:lnTo>
                <a:cubicBezTo>
                  <a:pt x="212279" y="70356"/>
                  <a:pt x="218654" y="70581"/>
                  <a:pt x="222448" y="74652"/>
                </a:cubicBezTo>
                <a:cubicBezTo>
                  <a:pt x="226053" y="78521"/>
                  <a:pt x="226053" y="84519"/>
                  <a:pt x="222448" y="88388"/>
                </a:cubicBezTo>
                <a:lnTo>
                  <a:pt x="130769" y="180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5" name="Рисунок 82">
            <a:extLst>
              <a:ext uri="{FF2B5EF4-FFF2-40B4-BE49-F238E27FC236}">
                <a16:creationId xmlns:a16="http://schemas.microsoft.com/office/drawing/2014/main" id="{6F9CB593-B476-4522-E06A-544E55F6DB02}"/>
              </a:ext>
            </a:extLst>
          </p:cNvPr>
          <p:cNvSpPr/>
          <p:nvPr/>
        </p:nvSpPr>
        <p:spPr>
          <a:xfrm rot="5400000">
            <a:off x="8041347" y="5450520"/>
            <a:ext cx="224124" cy="245448"/>
          </a:xfrm>
          <a:custGeom>
            <a:avLst/>
            <a:gdLst>
              <a:gd name="connsiteX0" fmla="*/ 180000 w 359999"/>
              <a:gd name="connsiteY0" fmla="*/ 0 h 360000"/>
              <a:gd name="connsiteX1" fmla="*/ 0 w 359999"/>
              <a:gd name="connsiteY1" fmla="*/ 180000 h 360000"/>
              <a:gd name="connsiteX2" fmla="*/ 180000 w 359999"/>
              <a:gd name="connsiteY2" fmla="*/ 360000 h 360000"/>
              <a:gd name="connsiteX3" fmla="*/ 360000 w 359999"/>
              <a:gd name="connsiteY3" fmla="*/ 180000 h 360000"/>
              <a:gd name="connsiteX4" fmla="*/ 180000 w 359999"/>
              <a:gd name="connsiteY4" fmla="*/ 0 h 360000"/>
              <a:gd name="connsiteX5" fmla="*/ 222381 w 359999"/>
              <a:gd name="connsiteY5" fmla="*/ 271612 h 360000"/>
              <a:gd name="connsiteX6" fmla="*/ 223513 w 359999"/>
              <a:gd name="connsiteY6" fmla="*/ 285814 h 360000"/>
              <a:gd name="connsiteX7" fmla="*/ 209310 w 359999"/>
              <a:gd name="connsiteY7" fmla="*/ 286947 h 360000"/>
              <a:gd name="connsiteX8" fmla="*/ 208209 w 359999"/>
              <a:gd name="connsiteY8" fmla="*/ 285851 h 360000"/>
              <a:gd name="connsiteX9" fmla="*/ 109478 w 359999"/>
              <a:gd name="connsiteY9" fmla="*/ 187119 h 360000"/>
              <a:gd name="connsiteX10" fmla="*/ 109468 w 359999"/>
              <a:gd name="connsiteY10" fmla="*/ 172891 h 360000"/>
              <a:gd name="connsiteX11" fmla="*/ 109478 w 359999"/>
              <a:gd name="connsiteY11" fmla="*/ 172881 h 360000"/>
              <a:gd name="connsiteX12" fmla="*/ 208209 w 359999"/>
              <a:gd name="connsiteY12" fmla="*/ 74149 h 360000"/>
              <a:gd name="connsiteX13" fmla="*/ 222448 w 359999"/>
              <a:gd name="connsiteY13" fmla="*/ 74652 h 360000"/>
              <a:gd name="connsiteX14" fmla="*/ 222448 w 359999"/>
              <a:gd name="connsiteY14" fmla="*/ 88388 h 360000"/>
              <a:gd name="connsiteX15" fmla="*/ 130769 w 359999"/>
              <a:gd name="connsiteY15" fmla="*/ 180000 h 3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59999" h="360000">
                <a:moveTo>
                  <a:pt x="180000" y="0"/>
                </a:moveTo>
                <a:cubicBezTo>
                  <a:pt x="80589" y="0"/>
                  <a:pt x="0" y="80589"/>
                  <a:pt x="0" y="180000"/>
                </a:cubicBezTo>
                <a:cubicBezTo>
                  <a:pt x="0" y="279411"/>
                  <a:pt x="80589" y="360000"/>
                  <a:pt x="180000" y="360000"/>
                </a:cubicBezTo>
                <a:cubicBezTo>
                  <a:pt x="279411" y="360000"/>
                  <a:pt x="360000" y="279411"/>
                  <a:pt x="360000" y="180000"/>
                </a:cubicBezTo>
                <a:cubicBezTo>
                  <a:pt x="360000" y="80589"/>
                  <a:pt x="279411" y="0"/>
                  <a:pt x="180000" y="0"/>
                </a:cubicBezTo>
                <a:close/>
                <a:moveTo>
                  <a:pt x="222381" y="271612"/>
                </a:moveTo>
                <a:cubicBezTo>
                  <a:pt x="226615" y="275221"/>
                  <a:pt x="227122" y="281580"/>
                  <a:pt x="223513" y="285814"/>
                </a:cubicBezTo>
                <a:cubicBezTo>
                  <a:pt x="219904" y="290049"/>
                  <a:pt x="213544" y="290556"/>
                  <a:pt x="209310" y="286947"/>
                </a:cubicBezTo>
                <a:cubicBezTo>
                  <a:pt x="208916" y="286610"/>
                  <a:pt x="208547" y="286244"/>
                  <a:pt x="208209" y="285851"/>
                </a:cubicBezTo>
                <a:lnTo>
                  <a:pt x="109478" y="187119"/>
                </a:lnTo>
                <a:cubicBezTo>
                  <a:pt x="105546" y="183193"/>
                  <a:pt x="105541" y="176823"/>
                  <a:pt x="109468" y="172891"/>
                </a:cubicBezTo>
                <a:cubicBezTo>
                  <a:pt x="109471" y="172887"/>
                  <a:pt x="109474" y="172885"/>
                  <a:pt x="109478" y="172881"/>
                </a:cubicBezTo>
                <a:lnTo>
                  <a:pt x="208209" y="74149"/>
                </a:lnTo>
                <a:cubicBezTo>
                  <a:pt x="212279" y="70356"/>
                  <a:pt x="218654" y="70581"/>
                  <a:pt x="222448" y="74652"/>
                </a:cubicBezTo>
                <a:cubicBezTo>
                  <a:pt x="226053" y="78521"/>
                  <a:pt x="226053" y="84519"/>
                  <a:pt x="222448" y="88388"/>
                </a:cubicBezTo>
                <a:lnTo>
                  <a:pt x="130769" y="180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905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6E483850-CE47-29DE-6C29-3BAE148D4213}"/>
              </a:ext>
            </a:extLst>
          </p:cNvPr>
          <p:cNvGrpSpPr/>
          <p:nvPr/>
        </p:nvGrpSpPr>
        <p:grpSpPr>
          <a:xfrm>
            <a:off x="5756261" y="2114275"/>
            <a:ext cx="288000" cy="288000"/>
            <a:chOff x="2049691" y="4628105"/>
            <a:chExt cx="432000" cy="432000"/>
          </a:xfrm>
        </p:grpSpPr>
        <p:sp>
          <p:nvSpPr>
            <p:cNvPr id="27" name="Овал 26">
              <a:extLst>
                <a:ext uri="{FF2B5EF4-FFF2-40B4-BE49-F238E27FC236}">
                  <a16:creationId xmlns:a16="http://schemas.microsoft.com/office/drawing/2014/main" id="{14C690A7-DE43-DAC2-3DA2-6E8EC46939B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49691" y="4628105"/>
              <a:ext cx="432000" cy="43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" name="Рисунок 77">
              <a:extLst>
                <a:ext uri="{FF2B5EF4-FFF2-40B4-BE49-F238E27FC236}">
                  <a16:creationId xmlns:a16="http://schemas.microsoft.com/office/drawing/2014/main" id="{7F3A325A-33D0-58E7-AA5C-9CEC2FB6F785}"/>
                </a:ext>
              </a:extLst>
            </p:cNvPr>
            <p:cNvSpPr/>
            <p:nvPr/>
          </p:nvSpPr>
          <p:spPr>
            <a:xfrm>
              <a:off x="2085691" y="4664105"/>
              <a:ext cx="359999" cy="360000"/>
            </a:xfrm>
            <a:custGeom>
              <a:avLst/>
              <a:gdLst>
                <a:gd name="connsiteX0" fmla="*/ 180000 w 359999"/>
                <a:gd name="connsiteY0" fmla="*/ 0 h 360000"/>
                <a:gd name="connsiteX1" fmla="*/ 0 w 359999"/>
                <a:gd name="connsiteY1" fmla="*/ 180000 h 360000"/>
                <a:gd name="connsiteX2" fmla="*/ 180000 w 359999"/>
                <a:gd name="connsiteY2" fmla="*/ 360000 h 360000"/>
                <a:gd name="connsiteX3" fmla="*/ 360000 w 359999"/>
                <a:gd name="connsiteY3" fmla="*/ 180000 h 360000"/>
                <a:gd name="connsiteX4" fmla="*/ 180000 w 359999"/>
                <a:gd name="connsiteY4" fmla="*/ 0 h 360000"/>
                <a:gd name="connsiteX5" fmla="*/ 169925 w 359999"/>
                <a:gd name="connsiteY5" fmla="*/ 62718 h 360000"/>
                <a:gd name="connsiteX6" fmla="*/ 180000 w 359999"/>
                <a:gd name="connsiteY6" fmla="*/ 52643 h 360000"/>
                <a:gd name="connsiteX7" fmla="*/ 190075 w 359999"/>
                <a:gd name="connsiteY7" fmla="*/ 62718 h 360000"/>
                <a:gd name="connsiteX8" fmla="*/ 190075 w 359999"/>
                <a:gd name="connsiteY8" fmla="*/ 233409 h 360000"/>
                <a:gd name="connsiteX9" fmla="*/ 180000 w 359999"/>
                <a:gd name="connsiteY9" fmla="*/ 243484 h 360000"/>
                <a:gd name="connsiteX10" fmla="*/ 169925 w 359999"/>
                <a:gd name="connsiteY10" fmla="*/ 233409 h 360000"/>
                <a:gd name="connsiteX11" fmla="*/ 180000 w 359999"/>
                <a:gd name="connsiteY11" fmla="*/ 307007 h 360000"/>
                <a:gd name="connsiteX12" fmla="*/ 169455 w 359999"/>
                <a:gd name="connsiteY12" fmla="*/ 296463 h 360000"/>
                <a:gd name="connsiteX13" fmla="*/ 180000 w 359999"/>
                <a:gd name="connsiteY13" fmla="*/ 285918 h 360000"/>
                <a:gd name="connsiteX14" fmla="*/ 190545 w 359999"/>
                <a:gd name="connsiteY14" fmla="*/ 296463 h 360000"/>
                <a:gd name="connsiteX15" fmla="*/ 180000 w 359999"/>
                <a:gd name="connsiteY15" fmla="*/ 307007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9999" h="360000">
                  <a:moveTo>
                    <a:pt x="180000" y="0"/>
                  </a:moveTo>
                  <a:cubicBezTo>
                    <a:pt x="80589" y="0"/>
                    <a:pt x="0" y="80589"/>
                    <a:pt x="0" y="180000"/>
                  </a:cubicBezTo>
                  <a:cubicBezTo>
                    <a:pt x="0" y="279411"/>
                    <a:pt x="80589" y="360000"/>
                    <a:pt x="180000" y="360000"/>
                  </a:cubicBezTo>
                  <a:cubicBezTo>
                    <a:pt x="279411" y="360000"/>
                    <a:pt x="360000" y="279411"/>
                    <a:pt x="360000" y="180000"/>
                  </a:cubicBezTo>
                  <a:cubicBezTo>
                    <a:pt x="360000" y="80589"/>
                    <a:pt x="279411" y="0"/>
                    <a:pt x="180000" y="0"/>
                  </a:cubicBezTo>
                  <a:close/>
                  <a:moveTo>
                    <a:pt x="169925" y="62718"/>
                  </a:moveTo>
                  <a:cubicBezTo>
                    <a:pt x="169925" y="57154"/>
                    <a:pt x="174436" y="52643"/>
                    <a:pt x="180000" y="52643"/>
                  </a:cubicBezTo>
                  <a:cubicBezTo>
                    <a:pt x="185564" y="52643"/>
                    <a:pt x="190075" y="57154"/>
                    <a:pt x="190075" y="62718"/>
                  </a:cubicBezTo>
                  <a:lnTo>
                    <a:pt x="190075" y="233409"/>
                  </a:lnTo>
                  <a:cubicBezTo>
                    <a:pt x="190075" y="238973"/>
                    <a:pt x="185564" y="243484"/>
                    <a:pt x="180000" y="243484"/>
                  </a:cubicBezTo>
                  <a:cubicBezTo>
                    <a:pt x="174436" y="243484"/>
                    <a:pt x="169925" y="238973"/>
                    <a:pt x="169925" y="233409"/>
                  </a:cubicBezTo>
                  <a:close/>
                  <a:moveTo>
                    <a:pt x="180000" y="307007"/>
                  </a:moveTo>
                  <a:cubicBezTo>
                    <a:pt x="174177" y="307007"/>
                    <a:pt x="169455" y="302286"/>
                    <a:pt x="169455" y="296463"/>
                  </a:cubicBezTo>
                  <a:cubicBezTo>
                    <a:pt x="169455" y="290640"/>
                    <a:pt x="174177" y="285918"/>
                    <a:pt x="180000" y="285918"/>
                  </a:cubicBezTo>
                  <a:cubicBezTo>
                    <a:pt x="185823" y="285918"/>
                    <a:pt x="190545" y="290640"/>
                    <a:pt x="190545" y="296463"/>
                  </a:cubicBezTo>
                  <a:cubicBezTo>
                    <a:pt x="190545" y="302286"/>
                    <a:pt x="185823" y="307007"/>
                    <a:pt x="180000" y="307007"/>
                  </a:cubicBezTo>
                  <a:close/>
                </a:path>
              </a:pathLst>
            </a:custGeom>
            <a:solidFill>
              <a:schemeClr val="bg2"/>
            </a:solidFill>
            <a:ln w="13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5405CEA4-5E41-F10E-AD3E-C568F51F39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7691" y="6462252"/>
            <a:ext cx="3413419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eaLnBrk="1" hangingPunct="1"/>
            <a:r>
              <a:rPr lang="ru-RU" altLang="ru-RU" sz="1100" b="1" dirty="0">
                <a:solidFill>
                  <a:schemeClr val="accent1">
                    <a:lumMod val="50000"/>
                  </a:schemeClr>
                </a:solidFill>
                <a:cs typeface="Quire Sans" panose="020B0502040204020203" pitchFamily="34" charset="0"/>
              </a:rPr>
              <a:t>Факт на 31.12.2022</a:t>
            </a:r>
          </a:p>
        </p:txBody>
      </p:sp>
    </p:spTree>
    <p:extLst>
      <p:ext uri="{BB962C8B-B14F-4D97-AF65-F5344CB8AC3E}">
        <p14:creationId xmlns:p14="http://schemas.microsoft.com/office/powerpoint/2010/main" val="2289857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0A7B7F3E-3224-77C9-0B8C-E04BAA3FFD4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125" y="2356225"/>
            <a:ext cx="8184440" cy="1813994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9BD0937C-4558-49AE-9651-1F4501827FC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/>
              <a:t>26.11.2023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3470627D-0549-548E-7DC6-2AC4DB075F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4208" y="5533798"/>
            <a:ext cx="5402719" cy="288567"/>
          </a:xfrm>
        </p:spPr>
        <p:txBody>
          <a:bodyPr/>
          <a:lstStyle/>
          <a:p>
            <a:r>
              <a:rPr lang="ru-RU" dirty="0"/>
              <a:t>Тел.: +7 (499) 949 46 86</a:t>
            </a:r>
          </a:p>
          <a:p>
            <a:r>
              <a:rPr lang="ru-RU" dirty="0"/>
              <a:t>E-</a:t>
            </a:r>
            <a:r>
              <a:rPr lang="ru-RU" dirty="0" err="1"/>
              <a:t>mail</a:t>
            </a:r>
            <a:r>
              <a:rPr lang="ru-RU" dirty="0"/>
              <a:t>: </a:t>
            </a:r>
            <a:r>
              <a:rPr lang="en-US" dirty="0" err="1"/>
              <a:t>AAAbramov</a:t>
            </a:r>
            <a:r>
              <a:rPr lang="ru-RU" dirty="0"/>
              <a:t>@</a:t>
            </a:r>
            <a:r>
              <a:rPr lang="en-US" dirty="0" err="1"/>
              <a:t>rosatom</a:t>
            </a:r>
            <a:r>
              <a:rPr lang="ru-RU" dirty="0"/>
              <a:t>.</a:t>
            </a:r>
            <a:r>
              <a:rPr lang="ru-RU" dirty="0" err="1"/>
              <a:t>ru</a:t>
            </a:r>
            <a:endParaRPr lang="ru-RU" dirty="0"/>
          </a:p>
          <a:p>
            <a:r>
              <a:rPr lang="ru-RU" dirty="0" err="1"/>
              <a:t>www</a:t>
            </a:r>
            <a:r>
              <a:rPr lang="ru-RU" dirty="0"/>
              <a:t>.</a:t>
            </a:r>
            <a:r>
              <a:rPr lang="en-US" dirty="0" err="1"/>
              <a:t>rosatom</a:t>
            </a:r>
            <a:r>
              <a:rPr lang="ru-RU" dirty="0"/>
              <a:t>.</a:t>
            </a:r>
            <a:r>
              <a:rPr lang="en-US" dirty="0" err="1"/>
              <a:t>ru</a:t>
            </a:r>
            <a:endParaRPr lang="ru-RU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1930866E-E958-F3B7-66FB-7D0AD24512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4208" y="4937300"/>
            <a:ext cx="5402719" cy="247610"/>
          </a:xfrm>
        </p:spPr>
        <p:txBody>
          <a:bodyPr/>
          <a:lstStyle/>
          <a:p>
            <a:r>
              <a:rPr lang="ru-RU" dirty="0"/>
              <a:t>Абрамов Александр Анатольевич</a:t>
            </a:r>
          </a:p>
          <a:p>
            <a:endParaRPr lang="ru-RU" dirty="0"/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22C78868-71C1-275E-2B04-621E89D9802B}"/>
              </a:ext>
            </a:extLst>
          </p:cNvPr>
          <p:cNvGrpSpPr/>
          <p:nvPr/>
        </p:nvGrpSpPr>
        <p:grpSpPr>
          <a:xfrm>
            <a:off x="-1847782" y="0"/>
            <a:ext cx="1685178" cy="1185857"/>
            <a:chOff x="-1847782" y="0"/>
            <a:chExt cx="1685178" cy="1185857"/>
          </a:xfrm>
        </p:grpSpPr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id="{42EA0F21-1174-2FEE-B614-3F28BEC2A6B2}"/>
                </a:ext>
              </a:extLst>
            </p:cNvPr>
            <p:cNvSpPr/>
            <p:nvPr userDrawn="1"/>
          </p:nvSpPr>
          <p:spPr>
            <a:xfrm>
              <a:off x="-1847782" y="0"/>
              <a:ext cx="1685178" cy="110799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46D6F6BA-BFF0-B39C-E9D2-3F6A38F1E9DC}"/>
                </a:ext>
              </a:extLst>
            </p:cNvPr>
            <p:cNvSpPr txBox="1"/>
            <p:nvPr userDrawn="1"/>
          </p:nvSpPr>
          <p:spPr>
            <a:xfrm>
              <a:off x="-1800301" y="77861"/>
              <a:ext cx="1524076" cy="1107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Clr>
                  <a:schemeClr val="tx1"/>
                </a:buClr>
              </a:pPr>
              <a:r>
                <a:rPr lang="ru-RU" sz="600" b="1" dirty="0">
                  <a:latin typeface="Arial" panose="020B0604020202020204" pitchFamily="34" charset="0"/>
                  <a:cs typeface="Arial" panose="020B0604020202020204" pitchFamily="34" charset="0"/>
                </a:rPr>
                <a:t>Изменение темы заключительного слайда</a:t>
              </a:r>
            </a:p>
            <a:p>
              <a:pPr>
                <a:buClr>
                  <a:schemeClr val="tx1"/>
                </a:buClr>
              </a:pPr>
              <a:endParaRPr lang="ru-RU" sz="6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84600" marR="0" lvl="0" indent="-8460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1"/>
                </a:buClr>
                <a:buSzTx/>
                <a:buFontTx/>
                <a:buAutoNum type="arabicPeriod"/>
                <a:tabLst/>
                <a:defRPr/>
              </a:pPr>
              <a:r>
                <a:rPr lang="ru-RU" sz="600" b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ерейти на нужный слайд</a:t>
              </a:r>
            </a:p>
            <a:p>
              <a:pPr marL="84600" marR="0" lvl="0" indent="-8460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1"/>
                </a:buClr>
                <a:buSzTx/>
                <a:buFontTx/>
                <a:buAutoNum type="arabicPeriod"/>
                <a:tabLst/>
                <a:defRPr/>
              </a:pPr>
              <a:endParaRPr lang="ru-RU" sz="6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84600" marR="0" lvl="0" indent="-8460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1"/>
                </a:buClr>
                <a:buSzTx/>
                <a:buFontTx/>
                <a:buAutoNum type="arabicPeriod"/>
                <a:tabLst/>
                <a:defRPr/>
              </a:pPr>
              <a:r>
                <a:rPr lang="ru-RU" sz="600" dirty="0">
                  <a:latin typeface="Arial" panose="020B0604020202020204" pitchFamily="34" charset="0"/>
                  <a:cs typeface="Arial" panose="020B0604020202020204" pitchFamily="34" charset="0"/>
                </a:rPr>
                <a:t>На верхней панели во вкладке </a:t>
              </a:r>
              <a:br>
                <a:rPr lang="ru-RU" sz="600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600" b="1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Главная</a:t>
              </a:r>
              <a:r>
                <a:rPr lang="ru-RU" sz="600" dirty="0">
                  <a:latin typeface="Arial" panose="020B0604020202020204" pitchFamily="34" charset="0"/>
                  <a:cs typeface="Arial" panose="020B0604020202020204" pitchFamily="34" charset="0"/>
                </a:rPr>
                <a:t> найти кнопку </a:t>
              </a:r>
              <a:r>
                <a:rPr lang="ru-RU" sz="600" b="1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акет</a:t>
              </a:r>
              <a:r>
                <a:rPr lang="ru-RU" sz="600" b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</a:t>
              </a:r>
              <a:r>
                <a:rPr lang="ru-RU" sz="600" b="1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600" b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сле нажатия выбрать шаблон </a:t>
              </a:r>
              <a:br>
                <a:rPr lang="ru-RU" sz="600" b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600" b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з выпадающего списка</a:t>
              </a:r>
            </a:p>
            <a:p>
              <a:pPr marL="228600" marR="0" lvl="0" indent="-22860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1"/>
                </a:buClr>
                <a:buSzTx/>
                <a:buFontTx/>
                <a:buAutoNum type="arabicPeriod"/>
                <a:tabLst/>
                <a:defRPr/>
              </a:pPr>
              <a:endParaRPr lang="ru-RU" sz="6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buClr>
                  <a:schemeClr val="tx1"/>
                </a:buClr>
              </a:pPr>
              <a:endParaRPr lang="ru-RU" sz="6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37222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WToxVqTzup8fuGpfkYI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xtpOzCTDakcWg9otKqp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UWHR5QQgirlcti09GB0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z.1hDmSSOU5fXciUZS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yArfOGS72Px54jofn_cA"/>
</p:tagLst>
</file>

<file path=ppt/theme/theme1.xml><?xml version="1.0" encoding="utf-8"?>
<a:theme xmlns:a="http://schemas.openxmlformats.org/drawingml/2006/main" name="Титульный слайд">
  <a:themeElements>
    <a:clrScheme name="Росатом 3">
      <a:dk1>
        <a:srgbClr val="333333"/>
      </a:dk1>
      <a:lt1>
        <a:srgbClr val="FFFFFF"/>
      </a:lt1>
      <a:dk2>
        <a:srgbClr val="56C02B"/>
      </a:dk2>
      <a:lt2>
        <a:srgbClr val="FCC30B"/>
      </a:lt2>
      <a:accent1>
        <a:srgbClr val="003274"/>
      </a:accent1>
      <a:accent2>
        <a:srgbClr val="025EA1"/>
      </a:accent2>
      <a:accent3>
        <a:srgbClr val="6CACE3"/>
      </a:accent3>
      <a:accent4>
        <a:srgbClr val="249789"/>
      </a:accent4>
      <a:accent5>
        <a:srgbClr val="FD6924"/>
      </a:accent5>
      <a:accent6>
        <a:srgbClr val="E20079"/>
      </a:accent6>
      <a:hlink>
        <a:srgbClr val="7F7F7F"/>
      </a:hlink>
      <a:folHlink>
        <a:srgbClr val="7F7F7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Таблицы">
  <a:themeElements>
    <a:clrScheme name="Росатом 3">
      <a:dk1>
        <a:srgbClr val="333333"/>
      </a:dk1>
      <a:lt1>
        <a:srgbClr val="FFFFFF"/>
      </a:lt1>
      <a:dk2>
        <a:srgbClr val="56C02B"/>
      </a:dk2>
      <a:lt2>
        <a:srgbClr val="FCC30B"/>
      </a:lt2>
      <a:accent1>
        <a:srgbClr val="003274"/>
      </a:accent1>
      <a:accent2>
        <a:srgbClr val="025EA1"/>
      </a:accent2>
      <a:accent3>
        <a:srgbClr val="6CACE3"/>
      </a:accent3>
      <a:accent4>
        <a:srgbClr val="249789"/>
      </a:accent4>
      <a:accent5>
        <a:srgbClr val="FD6924"/>
      </a:accent5>
      <a:accent6>
        <a:srgbClr val="E20079"/>
      </a:accent6>
      <a:hlink>
        <a:srgbClr val="7F7F7F"/>
      </a:hlink>
      <a:folHlink>
        <a:srgbClr val="7F7F7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Диаграммы">
  <a:themeElements>
    <a:clrScheme name="Росатом 3">
      <a:dk1>
        <a:srgbClr val="333333"/>
      </a:dk1>
      <a:lt1>
        <a:srgbClr val="FFFFFF"/>
      </a:lt1>
      <a:dk2>
        <a:srgbClr val="56C02B"/>
      </a:dk2>
      <a:lt2>
        <a:srgbClr val="FCC30B"/>
      </a:lt2>
      <a:accent1>
        <a:srgbClr val="003274"/>
      </a:accent1>
      <a:accent2>
        <a:srgbClr val="025EA1"/>
      </a:accent2>
      <a:accent3>
        <a:srgbClr val="6CACE3"/>
      </a:accent3>
      <a:accent4>
        <a:srgbClr val="249789"/>
      </a:accent4>
      <a:accent5>
        <a:srgbClr val="FD6924"/>
      </a:accent5>
      <a:accent6>
        <a:srgbClr val="E20079"/>
      </a:accent6>
      <a:hlink>
        <a:srgbClr val="7F7F7F"/>
      </a:hlink>
      <a:folHlink>
        <a:srgbClr val="7F7F7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Таймлайны">
  <a:themeElements>
    <a:clrScheme name="Росатом 3">
      <a:dk1>
        <a:srgbClr val="333333"/>
      </a:dk1>
      <a:lt1>
        <a:srgbClr val="FFFFFF"/>
      </a:lt1>
      <a:dk2>
        <a:srgbClr val="56C02B"/>
      </a:dk2>
      <a:lt2>
        <a:srgbClr val="FCC30B"/>
      </a:lt2>
      <a:accent1>
        <a:srgbClr val="003274"/>
      </a:accent1>
      <a:accent2>
        <a:srgbClr val="025EA1"/>
      </a:accent2>
      <a:accent3>
        <a:srgbClr val="6CACE3"/>
      </a:accent3>
      <a:accent4>
        <a:srgbClr val="249789"/>
      </a:accent4>
      <a:accent5>
        <a:srgbClr val="FD6924"/>
      </a:accent5>
      <a:accent6>
        <a:srgbClr val="E20079"/>
      </a:accent6>
      <a:hlink>
        <a:srgbClr val="7F7F7F"/>
      </a:hlink>
      <a:folHlink>
        <a:srgbClr val="7F7F7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Карты">
  <a:themeElements>
    <a:clrScheme name="Росатом 3">
      <a:dk1>
        <a:srgbClr val="333333"/>
      </a:dk1>
      <a:lt1>
        <a:srgbClr val="FFFFFF"/>
      </a:lt1>
      <a:dk2>
        <a:srgbClr val="56C02B"/>
      </a:dk2>
      <a:lt2>
        <a:srgbClr val="FCC30B"/>
      </a:lt2>
      <a:accent1>
        <a:srgbClr val="003274"/>
      </a:accent1>
      <a:accent2>
        <a:srgbClr val="025EA1"/>
      </a:accent2>
      <a:accent3>
        <a:srgbClr val="6CACE3"/>
      </a:accent3>
      <a:accent4>
        <a:srgbClr val="249789"/>
      </a:accent4>
      <a:accent5>
        <a:srgbClr val="FD6924"/>
      </a:accent5>
      <a:accent6>
        <a:srgbClr val="E20079"/>
      </a:accent6>
      <a:hlink>
        <a:srgbClr val="7F7F7F"/>
      </a:hlink>
      <a:folHlink>
        <a:srgbClr val="7F7F7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SmartArt">
  <a:themeElements>
    <a:clrScheme name="Росатом 3">
      <a:dk1>
        <a:srgbClr val="333333"/>
      </a:dk1>
      <a:lt1>
        <a:srgbClr val="FFFFFF"/>
      </a:lt1>
      <a:dk2>
        <a:srgbClr val="56C02B"/>
      </a:dk2>
      <a:lt2>
        <a:srgbClr val="FCC30B"/>
      </a:lt2>
      <a:accent1>
        <a:srgbClr val="003274"/>
      </a:accent1>
      <a:accent2>
        <a:srgbClr val="025EA1"/>
      </a:accent2>
      <a:accent3>
        <a:srgbClr val="6CACE3"/>
      </a:accent3>
      <a:accent4>
        <a:srgbClr val="249789"/>
      </a:accent4>
      <a:accent5>
        <a:srgbClr val="FD6924"/>
      </a:accent5>
      <a:accent6>
        <a:srgbClr val="E20079"/>
      </a:accent6>
      <a:hlink>
        <a:srgbClr val="7F7F7F"/>
      </a:hlink>
      <a:folHlink>
        <a:srgbClr val="7F7F7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Контакты">
  <a:themeElements>
    <a:clrScheme name="Росатом 3">
      <a:dk1>
        <a:srgbClr val="333333"/>
      </a:dk1>
      <a:lt1>
        <a:srgbClr val="FFFFFF"/>
      </a:lt1>
      <a:dk2>
        <a:srgbClr val="56C02B"/>
      </a:dk2>
      <a:lt2>
        <a:srgbClr val="FCC30B"/>
      </a:lt2>
      <a:accent1>
        <a:srgbClr val="003274"/>
      </a:accent1>
      <a:accent2>
        <a:srgbClr val="025EA1"/>
      </a:accent2>
      <a:accent3>
        <a:srgbClr val="6CACE3"/>
      </a:accent3>
      <a:accent4>
        <a:srgbClr val="249789"/>
      </a:accent4>
      <a:accent5>
        <a:srgbClr val="FD6924"/>
      </a:accent5>
      <a:accent6>
        <a:srgbClr val="E20079"/>
      </a:accent6>
      <a:hlink>
        <a:srgbClr val="7F7F7F"/>
      </a:hlink>
      <a:folHlink>
        <a:srgbClr val="7F7F7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итульный слайд_ДСП / КТ">
  <a:themeElements>
    <a:clrScheme name="Росатом 3">
      <a:dk1>
        <a:srgbClr val="333333"/>
      </a:dk1>
      <a:lt1>
        <a:srgbClr val="FFFFFF"/>
      </a:lt1>
      <a:dk2>
        <a:srgbClr val="56C02B"/>
      </a:dk2>
      <a:lt2>
        <a:srgbClr val="FCC30B"/>
      </a:lt2>
      <a:accent1>
        <a:srgbClr val="003274"/>
      </a:accent1>
      <a:accent2>
        <a:srgbClr val="025EA1"/>
      </a:accent2>
      <a:accent3>
        <a:srgbClr val="6CACE3"/>
      </a:accent3>
      <a:accent4>
        <a:srgbClr val="249789"/>
      </a:accent4>
      <a:accent5>
        <a:srgbClr val="FD6924"/>
      </a:accent5>
      <a:accent6>
        <a:srgbClr val="E20079"/>
      </a:accent6>
      <a:hlink>
        <a:srgbClr val="7F7F7F"/>
      </a:hlink>
      <a:folHlink>
        <a:srgbClr val="7F7F7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итульный слайд без логотипа">
  <a:themeElements>
    <a:clrScheme name="Росатом 3">
      <a:dk1>
        <a:srgbClr val="333333"/>
      </a:dk1>
      <a:lt1>
        <a:srgbClr val="FFFFFF"/>
      </a:lt1>
      <a:dk2>
        <a:srgbClr val="56C02B"/>
      </a:dk2>
      <a:lt2>
        <a:srgbClr val="FCC30B"/>
      </a:lt2>
      <a:accent1>
        <a:srgbClr val="003274"/>
      </a:accent1>
      <a:accent2>
        <a:srgbClr val="025EA1"/>
      </a:accent2>
      <a:accent3>
        <a:srgbClr val="6CACE3"/>
      </a:accent3>
      <a:accent4>
        <a:srgbClr val="249789"/>
      </a:accent4>
      <a:accent5>
        <a:srgbClr val="FD6924"/>
      </a:accent5>
      <a:accent6>
        <a:srgbClr val="E20079"/>
      </a:accent6>
      <a:hlink>
        <a:srgbClr val="7F7F7F"/>
      </a:hlink>
      <a:folHlink>
        <a:srgbClr val="7F7F7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Содержание">
  <a:themeElements>
    <a:clrScheme name="Росатом 3">
      <a:dk1>
        <a:srgbClr val="333333"/>
      </a:dk1>
      <a:lt1>
        <a:srgbClr val="FFFFFF"/>
      </a:lt1>
      <a:dk2>
        <a:srgbClr val="56C02B"/>
      </a:dk2>
      <a:lt2>
        <a:srgbClr val="FCC30B"/>
      </a:lt2>
      <a:accent1>
        <a:srgbClr val="003274"/>
      </a:accent1>
      <a:accent2>
        <a:srgbClr val="025EA1"/>
      </a:accent2>
      <a:accent3>
        <a:srgbClr val="6CACE3"/>
      </a:accent3>
      <a:accent4>
        <a:srgbClr val="249789"/>
      </a:accent4>
      <a:accent5>
        <a:srgbClr val="FD6924"/>
      </a:accent5>
      <a:accent6>
        <a:srgbClr val="E20079"/>
      </a:accent6>
      <a:hlink>
        <a:srgbClr val="7F7F7F"/>
      </a:hlink>
      <a:folHlink>
        <a:srgbClr val="7F7F7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Перебивочный слайд">
  <a:themeElements>
    <a:clrScheme name="Росатом 3">
      <a:dk1>
        <a:srgbClr val="333333"/>
      </a:dk1>
      <a:lt1>
        <a:srgbClr val="FFFFFF"/>
      </a:lt1>
      <a:dk2>
        <a:srgbClr val="56C02B"/>
      </a:dk2>
      <a:lt2>
        <a:srgbClr val="FCC30B"/>
      </a:lt2>
      <a:accent1>
        <a:srgbClr val="003274"/>
      </a:accent1>
      <a:accent2>
        <a:srgbClr val="025EA1"/>
      </a:accent2>
      <a:accent3>
        <a:srgbClr val="6CACE3"/>
      </a:accent3>
      <a:accent4>
        <a:srgbClr val="249789"/>
      </a:accent4>
      <a:accent5>
        <a:srgbClr val="FD6924"/>
      </a:accent5>
      <a:accent6>
        <a:srgbClr val="E20079"/>
      </a:accent6>
      <a:hlink>
        <a:srgbClr val="7F7F7F"/>
      </a:hlink>
      <a:folHlink>
        <a:srgbClr val="7F7F7F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Акцентные слайды">
  <a:themeElements>
    <a:clrScheme name="Росатом 3">
      <a:dk1>
        <a:srgbClr val="333333"/>
      </a:dk1>
      <a:lt1>
        <a:srgbClr val="FFFFFF"/>
      </a:lt1>
      <a:dk2>
        <a:srgbClr val="56C02B"/>
      </a:dk2>
      <a:lt2>
        <a:srgbClr val="FCC30B"/>
      </a:lt2>
      <a:accent1>
        <a:srgbClr val="003274"/>
      </a:accent1>
      <a:accent2>
        <a:srgbClr val="025EA1"/>
      </a:accent2>
      <a:accent3>
        <a:srgbClr val="6CACE3"/>
      </a:accent3>
      <a:accent4>
        <a:srgbClr val="249789"/>
      </a:accent4>
      <a:accent5>
        <a:srgbClr val="FD6924"/>
      </a:accent5>
      <a:accent6>
        <a:srgbClr val="E20079"/>
      </a:accent6>
      <a:hlink>
        <a:srgbClr val="7F7F7F"/>
      </a:hlink>
      <a:folHlink>
        <a:srgbClr val="7F7F7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Цветные фоны (для публичных выступлений)">
  <a:themeElements>
    <a:clrScheme name="Росатом 3">
      <a:dk1>
        <a:srgbClr val="333333"/>
      </a:dk1>
      <a:lt1>
        <a:srgbClr val="FFFFFF"/>
      </a:lt1>
      <a:dk2>
        <a:srgbClr val="56C02B"/>
      </a:dk2>
      <a:lt2>
        <a:srgbClr val="FCC30B"/>
      </a:lt2>
      <a:accent1>
        <a:srgbClr val="003274"/>
      </a:accent1>
      <a:accent2>
        <a:srgbClr val="025EA1"/>
      </a:accent2>
      <a:accent3>
        <a:srgbClr val="6CACE3"/>
      </a:accent3>
      <a:accent4>
        <a:srgbClr val="249789"/>
      </a:accent4>
      <a:accent5>
        <a:srgbClr val="FD6924"/>
      </a:accent5>
      <a:accent6>
        <a:srgbClr val="E20079"/>
      </a:accent6>
      <a:hlink>
        <a:srgbClr val="7F7F7F"/>
      </a:hlink>
      <a:folHlink>
        <a:srgbClr val="7F7F7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Текстовые слайды">
  <a:themeElements>
    <a:clrScheme name="Росатом 3">
      <a:dk1>
        <a:srgbClr val="333333"/>
      </a:dk1>
      <a:lt1>
        <a:srgbClr val="FFFFFF"/>
      </a:lt1>
      <a:dk2>
        <a:srgbClr val="56C02B"/>
      </a:dk2>
      <a:lt2>
        <a:srgbClr val="FCC30B"/>
      </a:lt2>
      <a:accent1>
        <a:srgbClr val="003274"/>
      </a:accent1>
      <a:accent2>
        <a:srgbClr val="025EA1"/>
      </a:accent2>
      <a:accent3>
        <a:srgbClr val="6CACE3"/>
      </a:accent3>
      <a:accent4>
        <a:srgbClr val="249789"/>
      </a:accent4>
      <a:accent5>
        <a:srgbClr val="FD6924"/>
      </a:accent5>
      <a:accent6>
        <a:srgbClr val="E20079"/>
      </a:accent6>
      <a:hlink>
        <a:srgbClr val="7F7F7F"/>
      </a:hlink>
      <a:folHlink>
        <a:srgbClr val="7F7F7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Слайды с изображениями">
  <a:themeElements>
    <a:clrScheme name="Росатом 3">
      <a:dk1>
        <a:srgbClr val="333333"/>
      </a:dk1>
      <a:lt1>
        <a:srgbClr val="FFFFFF"/>
      </a:lt1>
      <a:dk2>
        <a:srgbClr val="56C02B"/>
      </a:dk2>
      <a:lt2>
        <a:srgbClr val="FCC30B"/>
      </a:lt2>
      <a:accent1>
        <a:srgbClr val="003274"/>
      </a:accent1>
      <a:accent2>
        <a:srgbClr val="025EA1"/>
      </a:accent2>
      <a:accent3>
        <a:srgbClr val="6CACE3"/>
      </a:accent3>
      <a:accent4>
        <a:srgbClr val="249789"/>
      </a:accent4>
      <a:accent5>
        <a:srgbClr val="FD6924"/>
      </a:accent5>
      <a:accent6>
        <a:srgbClr val="E20079"/>
      </a:accent6>
      <a:hlink>
        <a:srgbClr val="7F7F7F"/>
      </a:hlink>
      <a:folHlink>
        <a:srgbClr val="7F7F7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9375</TotalTime>
  <Words>1144</Words>
  <Application>Microsoft Office PowerPoint</Application>
  <PresentationFormat>Широкоэкранный</PresentationFormat>
  <Paragraphs>273</Paragraphs>
  <Slides>8</Slides>
  <Notes>1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5</vt:i4>
      </vt:variant>
      <vt:variant>
        <vt:lpstr>Заголовки слайдов</vt:lpstr>
      </vt:variant>
      <vt:variant>
        <vt:i4>8</vt:i4>
      </vt:variant>
    </vt:vector>
  </HeadingPairs>
  <TitlesOfParts>
    <vt:vector size="31" baseType="lpstr">
      <vt:lpstr>微软雅黑</vt:lpstr>
      <vt:lpstr>Arial</vt:lpstr>
      <vt:lpstr>Calibri</vt:lpstr>
      <vt:lpstr>Open Sans</vt:lpstr>
      <vt:lpstr>Quire Sans</vt:lpstr>
      <vt:lpstr>Rosatom Light</vt:lpstr>
      <vt:lpstr>黑体</vt:lpstr>
      <vt:lpstr>Symbol</vt:lpstr>
      <vt:lpstr>Титульный слайд</vt:lpstr>
      <vt:lpstr>Титульный слайд_ДСП / КТ</vt:lpstr>
      <vt:lpstr>Титульный слайд без логотипа</vt:lpstr>
      <vt:lpstr>Содержание</vt:lpstr>
      <vt:lpstr>Перебивочный слайд</vt:lpstr>
      <vt:lpstr>Акцентные слайды</vt:lpstr>
      <vt:lpstr>Цветные фоны (для публичных выступлений)</vt:lpstr>
      <vt:lpstr>Текстовые слайды</vt:lpstr>
      <vt:lpstr>Слайды с изображениями</vt:lpstr>
      <vt:lpstr>Таблицы</vt:lpstr>
      <vt:lpstr>Диаграммы</vt:lpstr>
      <vt:lpstr>Таймлайны</vt:lpstr>
      <vt:lpstr>Карты</vt:lpstr>
      <vt:lpstr>SmartArt</vt:lpstr>
      <vt:lpstr>Контакты</vt:lpstr>
      <vt:lpstr>Реализация Межгосударственной целевой программы «Рекультивация территорий государств, подвергшихся воздействию уранодобывающих производств»</vt:lpstr>
      <vt:lpstr>Презентация PowerPoint</vt:lpstr>
      <vt:lpstr>Презентация PowerPoint</vt:lpstr>
      <vt:lpstr>Выполнение работ в Киргизии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ветлана Поспелова</dc:creator>
  <cp:lastModifiedBy>Дерябин Сергей Александрович</cp:lastModifiedBy>
  <cp:revision>870</cp:revision>
  <cp:lastPrinted>2022-03-29T16:00:11Z</cp:lastPrinted>
  <dcterms:created xsi:type="dcterms:W3CDTF">2021-10-19T14:08:40Z</dcterms:created>
  <dcterms:modified xsi:type="dcterms:W3CDTF">2023-11-24T10:12:37Z</dcterms:modified>
</cp:coreProperties>
</file>